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3.xml" ContentType="application/vnd.openxmlformats-officedocument.theme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4.xml" ContentType="application/vnd.openxmlformats-officedocument.theme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5.xml" ContentType="application/vnd.openxmlformats-officedocument.theme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6.xml" ContentType="application/vnd.openxmlformats-officedocument.theme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7.xml" ContentType="application/vnd.openxmlformats-officedocument.theme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8.xml" ContentType="application/vnd.openxmlformats-officedocument.theme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9.xml" ContentType="application/vnd.openxmlformats-officedocument.theme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heme/theme10.xml" ContentType="application/vnd.openxmlformats-officedocument.theme+xml"/>
  <Override PartName="/ppt/theme/theme11.xml" ContentType="application/vnd.openxmlformats-officedocument.theme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68" r:id="rId4"/>
    <p:sldMasterId id="2147483686" r:id="rId5"/>
    <p:sldMasterId id="2147483705" r:id="rId6"/>
    <p:sldMasterId id="2147483715" r:id="rId7"/>
    <p:sldMasterId id="2147483720" r:id="rId8"/>
    <p:sldMasterId id="2147483725" r:id="rId9"/>
    <p:sldMasterId id="2147483728" r:id="rId10"/>
    <p:sldMasterId id="2147483734" r:id="rId11"/>
    <p:sldMasterId id="2147483741" r:id="rId12"/>
  </p:sldMasterIdLst>
  <p:notesMasterIdLst>
    <p:notesMasterId r:id="rId27"/>
  </p:notesMasterIdLst>
  <p:handoutMasterIdLst>
    <p:handoutMasterId r:id="rId28"/>
  </p:handoutMasterIdLst>
  <p:sldIdLst>
    <p:sldId id="258" r:id="rId13"/>
    <p:sldId id="2147377538" r:id="rId14"/>
    <p:sldId id="2147377558" r:id="rId15"/>
    <p:sldId id="2147377548" r:id="rId16"/>
    <p:sldId id="2147377557" r:id="rId17"/>
    <p:sldId id="2147377550" r:id="rId18"/>
    <p:sldId id="2147377551" r:id="rId19"/>
    <p:sldId id="2147377552" r:id="rId20"/>
    <p:sldId id="2147377553" r:id="rId21"/>
    <p:sldId id="2147377554" r:id="rId22"/>
    <p:sldId id="2126986485" r:id="rId23"/>
    <p:sldId id="2147377546" r:id="rId24"/>
    <p:sldId id="2147377547" r:id="rId25"/>
    <p:sldId id="2147377556" r:id="rId26"/>
  </p:sldIdLst>
  <p:sldSz cx="12192000" cy="6858000"/>
  <p:notesSz cx="12192000" cy="6858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3AEE04E-B4AB-9833-2C4A-F716C8D65E42}" name="Alageel, Sara" initials="SA" userId="S::ageelsn@KAPSARC.ORG::0a13971d-4855-453d-bb2a-7f2769671d22" providerId="AD"/>
  <p188:author id="{AFC60950-C3DA-11D5-A1AF-19ECBDBA1F70}" name="Aldowais, Aljawharah" initials="AA" userId="S::dowaisaa@KAPSARC.ORG::fee38828-5188-47e3-a4bb-deded5edb184" providerId="AD"/>
  <p188:author id="{EE20BA58-866A-03B1-03D9-87EB1D16BC6C}" name="Alshiddi, Abdulaziz" initials="AA" userId="S::shiddiaa@KAPSARC.ORG::451f9c99-68db-47e1-b124-cb5e4d9283c2" providerId="AD"/>
  <p188:author id="{39C0E67B-0B2F-06D3-90FC-E99927AFE47C}" name="Karanfil, Fatih" initials="KF" userId="S::karanff@KAPSARC.ORG::0cc277bf-29b4-42b7-8562-324ba398aeda" providerId="AD"/>
  <p188:author id="{3099F298-A293-92B2-D912-2A64A9B1E29E}" name="Nouf, Alazzam" initials="NA" userId="S::noufa@KAPSARC.ORG::a28f1c88-bfff-4879-921a-803b6633c8e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FF"/>
    <a:srgbClr val="F2F2F2"/>
    <a:srgbClr val="006296"/>
    <a:srgbClr val="8AC58F"/>
    <a:srgbClr val="A6BEB1"/>
    <a:srgbClr val="0099CC"/>
    <a:srgbClr val="87C58F"/>
    <a:srgbClr val="E7F3E9"/>
    <a:srgbClr val="5D9E54"/>
    <a:srgbClr val="008B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7DE6677-BB58-43EA-B2DF-A02B9EF26F2D}" v="576" dt="2023-11-05T07:52:04.049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484" autoAdjust="0"/>
    <p:restoredTop sz="96005" autoAdjust="0"/>
  </p:normalViewPr>
  <p:slideViewPr>
    <p:cSldViewPr snapToGrid="0">
      <p:cViewPr varScale="1">
        <p:scale>
          <a:sx n="70" d="100"/>
          <a:sy n="70" d="100"/>
        </p:scale>
        <p:origin x="792" y="60"/>
      </p:cViewPr>
      <p:guideLst>
        <p:guide orient="horz" pos="2880"/>
        <p:guide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slide" Target="slides/slide9.xml"/><Relationship Id="rId34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2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handoutMaster" Target="handoutMasters/handoutMaster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7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Relationship Id="rId35" Type="http://schemas.microsoft.com/office/2018/10/relationships/authors" Target="authors.xml"/><Relationship Id="rId8" Type="http://schemas.openxmlformats.org/officeDocument/2006/relationships/slideMaster" Target="slideMasters/slideMaster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aranfil, Fatih" userId="0cc277bf-29b4-42b7-8562-324ba398aeda" providerId="ADAL" clId="{A7DE6677-BB58-43EA-B2DF-A02B9EF26F2D}"/>
    <pc:docChg chg="undo redo custSel addSld delSld modSld sldOrd modMainMaster">
      <pc:chgData name="Karanfil, Fatih" userId="0cc277bf-29b4-42b7-8562-324ba398aeda" providerId="ADAL" clId="{A7DE6677-BB58-43EA-B2DF-A02B9EF26F2D}" dt="2023-11-05T07:50:55.684" v="2314" actId="1037"/>
      <pc:docMkLst>
        <pc:docMk/>
      </pc:docMkLst>
      <pc:sldChg chg="addSp modSp mod modAnim">
        <pc:chgData name="Karanfil, Fatih" userId="0cc277bf-29b4-42b7-8562-324ba398aeda" providerId="ADAL" clId="{A7DE6677-BB58-43EA-B2DF-A02B9EF26F2D}" dt="2023-11-05T06:20:19.738" v="1143" actId="1036"/>
        <pc:sldMkLst>
          <pc:docMk/>
          <pc:sldMk cId="61921715" sldId="258"/>
        </pc:sldMkLst>
        <pc:spChg chg="add mod">
          <ac:chgData name="Karanfil, Fatih" userId="0cc277bf-29b4-42b7-8562-324ba398aeda" providerId="ADAL" clId="{A7DE6677-BB58-43EA-B2DF-A02B9EF26F2D}" dt="2023-11-05T06:19:36.927" v="1134" actId="14100"/>
          <ac:spMkLst>
            <pc:docMk/>
            <pc:sldMk cId="61921715" sldId="258"/>
            <ac:spMk id="2" creationId="{480D38A5-435F-70A3-78DF-C7A6768DEA53}"/>
          </ac:spMkLst>
        </pc:spChg>
        <pc:spChg chg="mod">
          <ac:chgData name="Karanfil, Fatih" userId="0cc277bf-29b4-42b7-8562-324ba398aeda" providerId="ADAL" clId="{A7DE6677-BB58-43EA-B2DF-A02B9EF26F2D}" dt="2023-11-02T06:17:49.484" v="23" actId="1076"/>
          <ac:spMkLst>
            <pc:docMk/>
            <pc:sldMk cId="61921715" sldId="258"/>
            <ac:spMk id="4" creationId="{806FD97B-691F-4513-92F7-37A1FAC29B8E}"/>
          </ac:spMkLst>
        </pc:spChg>
        <pc:picChg chg="add mod">
          <ac:chgData name="Karanfil, Fatih" userId="0cc277bf-29b4-42b7-8562-324ba398aeda" providerId="ADAL" clId="{A7DE6677-BB58-43EA-B2DF-A02B9EF26F2D}" dt="2023-11-05T06:20:19.738" v="1143" actId="1036"/>
          <ac:picMkLst>
            <pc:docMk/>
            <pc:sldMk cId="61921715" sldId="258"/>
            <ac:picMk id="3" creationId="{FAE92B04-B6CA-BF01-0767-812D0AB28AEB}"/>
          </ac:picMkLst>
        </pc:picChg>
      </pc:sldChg>
      <pc:sldChg chg="addSp delSp modSp mod addAnim delAnim modAnim">
        <pc:chgData name="Karanfil, Fatih" userId="0cc277bf-29b4-42b7-8562-324ba398aeda" providerId="ADAL" clId="{A7DE6677-BB58-43EA-B2DF-A02B9EF26F2D}" dt="2023-11-05T07:03:32.761" v="1527"/>
        <pc:sldMkLst>
          <pc:docMk/>
          <pc:sldMk cId="408607906" sldId="2147377538"/>
        </pc:sldMkLst>
        <pc:spChg chg="add del mod">
          <ac:chgData name="Karanfil, Fatih" userId="0cc277bf-29b4-42b7-8562-324ba398aeda" providerId="ADAL" clId="{A7DE6677-BB58-43EA-B2DF-A02B9EF26F2D}" dt="2023-11-05T06:18:04.820" v="1129" actId="21"/>
          <ac:spMkLst>
            <pc:docMk/>
            <pc:sldMk cId="408607906" sldId="2147377538"/>
            <ac:spMk id="3" creationId="{6439FEF4-8330-915A-88D5-5B3D1A315475}"/>
          </ac:spMkLst>
        </pc:spChg>
        <pc:spChg chg="mod">
          <ac:chgData name="Karanfil, Fatih" userId="0cc277bf-29b4-42b7-8562-324ba398aeda" providerId="ADAL" clId="{A7DE6677-BB58-43EA-B2DF-A02B9EF26F2D}" dt="2023-11-05T06:21:12.605" v="1145" actId="14100"/>
          <ac:spMkLst>
            <pc:docMk/>
            <pc:sldMk cId="408607906" sldId="2147377538"/>
            <ac:spMk id="5" creationId="{316B8079-4A76-825B-BA7C-2BAA58813591}"/>
          </ac:spMkLst>
        </pc:spChg>
        <pc:spChg chg="del">
          <ac:chgData name="Karanfil, Fatih" userId="0cc277bf-29b4-42b7-8562-324ba398aeda" providerId="ADAL" clId="{A7DE6677-BB58-43EA-B2DF-A02B9EF26F2D}" dt="2023-11-02T06:18:43.939" v="25" actId="478"/>
          <ac:spMkLst>
            <pc:docMk/>
            <pc:sldMk cId="408607906" sldId="2147377538"/>
            <ac:spMk id="8" creationId="{5647A524-51BE-B45D-CEE7-9B50FA499455}"/>
          </ac:spMkLst>
        </pc:spChg>
        <pc:spChg chg="add del mod">
          <ac:chgData name="Karanfil, Fatih" userId="0cc277bf-29b4-42b7-8562-324ba398aeda" providerId="ADAL" clId="{A7DE6677-BB58-43EA-B2DF-A02B9EF26F2D}" dt="2023-11-05T06:22:35.909" v="1160" actId="478"/>
          <ac:spMkLst>
            <pc:docMk/>
            <pc:sldMk cId="408607906" sldId="2147377538"/>
            <ac:spMk id="10" creationId="{F3CCA6B8-8DE8-7C8D-2D5E-22BA92CBD112}"/>
          </ac:spMkLst>
        </pc:spChg>
        <pc:spChg chg="add del mod">
          <ac:chgData name="Karanfil, Fatih" userId="0cc277bf-29b4-42b7-8562-324ba398aeda" providerId="ADAL" clId="{A7DE6677-BB58-43EA-B2DF-A02B9EF26F2D}" dt="2023-11-02T06:39:47.604" v="145" actId="478"/>
          <ac:spMkLst>
            <pc:docMk/>
            <pc:sldMk cId="408607906" sldId="2147377538"/>
            <ac:spMk id="12" creationId="{6BF9A65F-EFCC-6ED9-63E8-350CD2654226}"/>
          </ac:spMkLst>
        </pc:spChg>
        <pc:spChg chg="add mod">
          <ac:chgData name="Karanfil, Fatih" userId="0cc277bf-29b4-42b7-8562-324ba398aeda" providerId="ADAL" clId="{A7DE6677-BB58-43EA-B2DF-A02B9EF26F2D}" dt="2023-11-05T06:24:16.649" v="1188" actId="1076"/>
          <ac:spMkLst>
            <pc:docMk/>
            <pc:sldMk cId="408607906" sldId="2147377538"/>
            <ac:spMk id="13" creationId="{6E623662-D682-3FA1-DB27-0D4E9BF51516}"/>
          </ac:spMkLst>
        </pc:spChg>
        <pc:spChg chg="add del mod">
          <ac:chgData name="Karanfil, Fatih" userId="0cc277bf-29b4-42b7-8562-324ba398aeda" providerId="ADAL" clId="{A7DE6677-BB58-43EA-B2DF-A02B9EF26F2D}" dt="2023-11-02T06:45:35.636" v="170" actId="478"/>
          <ac:spMkLst>
            <pc:docMk/>
            <pc:sldMk cId="408607906" sldId="2147377538"/>
            <ac:spMk id="18" creationId="{B576411E-71DA-599B-AE7B-92C49596FB20}"/>
          </ac:spMkLst>
        </pc:spChg>
        <pc:spChg chg="add mod">
          <ac:chgData name="Karanfil, Fatih" userId="0cc277bf-29b4-42b7-8562-324ba398aeda" providerId="ADAL" clId="{A7DE6677-BB58-43EA-B2DF-A02B9EF26F2D}" dt="2023-11-05T06:23:38.295" v="1183" actId="1035"/>
          <ac:spMkLst>
            <pc:docMk/>
            <pc:sldMk cId="408607906" sldId="2147377538"/>
            <ac:spMk id="20" creationId="{E2BC591C-63C2-102C-D67C-B2A92ABDF5AC}"/>
          </ac:spMkLst>
        </pc:spChg>
        <pc:spChg chg="add del mod">
          <ac:chgData name="Karanfil, Fatih" userId="0cc277bf-29b4-42b7-8562-324ba398aeda" providerId="ADAL" clId="{A7DE6677-BB58-43EA-B2DF-A02B9EF26F2D}" dt="2023-11-05T06:21:15.515" v="1146" actId="478"/>
          <ac:spMkLst>
            <pc:docMk/>
            <pc:sldMk cId="408607906" sldId="2147377538"/>
            <ac:spMk id="22" creationId="{C7DF2DC3-8FC9-F668-24A5-98AA2A8B390D}"/>
          </ac:spMkLst>
        </pc:spChg>
        <pc:graphicFrameChg chg="add mod modGraphic">
          <ac:chgData name="Karanfil, Fatih" userId="0cc277bf-29b4-42b7-8562-324ba398aeda" providerId="ADAL" clId="{A7DE6677-BB58-43EA-B2DF-A02B9EF26F2D}" dt="2023-11-05T06:23:15.917" v="1169" actId="14100"/>
          <ac:graphicFrameMkLst>
            <pc:docMk/>
            <pc:sldMk cId="408607906" sldId="2147377538"/>
            <ac:graphicFrameMk id="21" creationId="{20A8E42A-DD56-EBEC-0FE0-E5F2E0EE59AA}"/>
          </ac:graphicFrameMkLst>
        </pc:graphicFrameChg>
        <pc:picChg chg="del">
          <ac:chgData name="Karanfil, Fatih" userId="0cc277bf-29b4-42b7-8562-324ba398aeda" providerId="ADAL" clId="{A7DE6677-BB58-43EA-B2DF-A02B9EF26F2D}" dt="2023-11-02T06:18:45.848" v="26" actId="478"/>
          <ac:picMkLst>
            <pc:docMk/>
            <pc:sldMk cId="408607906" sldId="2147377538"/>
            <ac:picMk id="2" creationId="{26672E5A-3E1E-C9B2-9DE5-236589DF2621}"/>
          </ac:picMkLst>
        </pc:picChg>
        <pc:picChg chg="add del mod">
          <ac:chgData name="Karanfil, Fatih" userId="0cc277bf-29b4-42b7-8562-324ba398aeda" providerId="ADAL" clId="{A7DE6677-BB58-43EA-B2DF-A02B9EF26F2D}" dt="2023-11-02T06:18:55.224" v="30" actId="478"/>
          <ac:picMkLst>
            <pc:docMk/>
            <pc:sldMk cId="408607906" sldId="2147377538"/>
            <ac:picMk id="4" creationId="{DABD5C70-CC2E-B75E-AC5B-AE82EB625B23}"/>
          </ac:picMkLst>
        </pc:picChg>
        <pc:picChg chg="add del mod">
          <ac:chgData name="Karanfil, Fatih" userId="0cc277bf-29b4-42b7-8562-324ba398aeda" providerId="ADAL" clId="{A7DE6677-BB58-43EA-B2DF-A02B9EF26F2D}" dt="2023-11-05T06:18:04.820" v="1129" actId="21"/>
          <ac:picMkLst>
            <pc:docMk/>
            <pc:sldMk cId="408607906" sldId="2147377538"/>
            <ac:picMk id="9" creationId="{021DA9CF-8B56-28AD-E6FB-9F9AB390C094}"/>
          </ac:picMkLst>
        </pc:picChg>
        <pc:picChg chg="add del mod">
          <ac:chgData name="Karanfil, Fatih" userId="0cc277bf-29b4-42b7-8562-324ba398aeda" providerId="ADAL" clId="{A7DE6677-BB58-43EA-B2DF-A02B9EF26F2D}" dt="2023-11-02T06:26:32.324" v="83" actId="478"/>
          <ac:picMkLst>
            <pc:docMk/>
            <pc:sldMk cId="408607906" sldId="2147377538"/>
            <ac:picMk id="11" creationId="{A564D2F8-9B11-D216-CCA3-32836A734C52}"/>
          </ac:picMkLst>
        </pc:picChg>
        <pc:picChg chg="add del mod">
          <ac:chgData name="Karanfil, Fatih" userId="0cc277bf-29b4-42b7-8562-324ba398aeda" providerId="ADAL" clId="{A7DE6677-BB58-43EA-B2DF-A02B9EF26F2D}" dt="2023-11-02T06:39:43.885" v="144" actId="478"/>
          <ac:picMkLst>
            <pc:docMk/>
            <pc:sldMk cId="408607906" sldId="2147377538"/>
            <ac:picMk id="15" creationId="{0A3A3EC1-7ADE-43EE-7374-80F4E37381C5}"/>
          </ac:picMkLst>
        </pc:picChg>
        <pc:picChg chg="add mod ord">
          <ac:chgData name="Karanfil, Fatih" userId="0cc277bf-29b4-42b7-8562-324ba398aeda" providerId="ADAL" clId="{A7DE6677-BB58-43EA-B2DF-A02B9EF26F2D}" dt="2023-11-05T06:24:43.059" v="1193" actId="167"/>
          <ac:picMkLst>
            <pc:docMk/>
            <pc:sldMk cId="408607906" sldId="2147377538"/>
            <ac:picMk id="17" creationId="{9AA55E8F-A740-746E-6477-B377C2FE23F2}"/>
          </ac:picMkLst>
        </pc:picChg>
        <pc:picChg chg="add mod ord">
          <ac:chgData name="Karanfil, Fatih" userId="0cc277bf-29b4-42b7-8562-324ba398aeda" providerId="ADAL" clId="{A7DE6677-BB58-43EA-B2DF-A02B9EF26F2D}" dt="2023-11-05T06:24:48.924" v="1194" actId="167"/>
          <ac:picMkLst>
            <pc:docMk/>
            <pc:sldMk cId="408607906" sldId="2147377538"/>
            <ac:picMk id="19" creationId="{68675FA6-1B20-6DCF-9EA9-07D558DC3B2C}"/>
          </ac:picMkLst>
        </pc:picChg>
      </pc:sldChg>
      <pc:sldChg chg="del">
        <pc:chgData name="Karanfil, Fatih" userId="0cc277bf-29b4-42b7-8562-324ba398aeda" providerId="ADAL" clId="{A7DE6677-BB58-43EA-B2DF-A02B9EF26F2D}" dt="2023-11-02T06:52:23.472" v="316" actId="47"/>
        <pc:sldMkLst>
          <pc:docMk/>
          <pc:sldMk cId="1632353864" sldId="2147377539"/>
        </pc:sldMkLst>
      </pc:sldChg>
      <pc:sldChg chg="modSp del">
        <pc:chgData name="Karanfil, Fatih" userId="0cc277bf-29b4-42b7-8562-324ba398aeda" providerId="ADAL" clId="{A7DE6677-BB58-43EA-B2DF-A02B9EF26F2D}" dt="2023-11-02T06:52:34.248" v="318" actId="47"/>
        <pc:sldMkLst>
          <pc:docMk/>
          <pc:sldMk cId="41055851" sldId="2147377540"/>
        </pc:sldMkLst>
        <pc:spChg chg="mod">
          <ac:chgData name="Karanfil, Fatih" userId="0cc277bf-29b4-42b7-8562-324ba398aeda" providerId="ADAL" clId="{A7DE6677-BB58-43EA-B2DF-A02B9EF26F2D}" dt="2023-11-02T06:46:45.171" v="175" actId="14100"/>
          <ac:spMkLst>
            <pc:docMk/>
            <pc:sldMk cId="41055851" sldId="2147377540"/>
            <ac:spMk id="5" creationId="{316B8079-4A76-825B-BA7C-2BAA58813591}"/>
          </ac:spMkLst>
        </pc:spChg>
      </pc:sldChg>
      <pc:sldChg chg="del">
        <pc:chgData name="Karanfil, Fatih" userId="0cc277bf-29b4-42b7-8562-324ba398aeda" providerId="ADAL" clId="{A7DE6677-BB58-43EA-B2DF-A02B9EF26F2D}" dt="2023-11-02T06:52:37.940" v="319" actId="47"/>
        <pc:sldMkLst>
          <pc:docMk/>
          <pc:sldMk cId="2561149156" sldId="2147377541"/>
        </pc:sldMkLst>
      </pc:sldChg>
      <pc:sldChg chg="del">
        <pc:chgData name="Karanfil, Fatih" userId="0cc277bf-29b4-42b7-8562-324ba398aeda" providerId="ADAL" clId="{A7DE6677-BB58-43EA-B2DF-A02B9EF26F2D}" dt="2023-11-02T06:52:40.628" v="320" actId="47"/>
        <pc:sldMkLst>
          <pc:docMk/>
          <pc:sldMk cId="1814287114" sldId="2147377542"/>
        </pc:sldMkLst>
      </pc:sldChg>
      <pc:sldChg chg="del">
        <pc:chgData name="Karanfil, Fatih" userId="0cc277bf-29b4-42b7-8562-324ba398aeda" providerId="ADAL" clId="{A7DE6677-BB58-43EA-B2DF-A02B9EF26F2D}" dt="2023-11-02T06:52:42.873" v="321" actId="47"/>
        <pc:sldMkLst>
          <pc:docMk/>
          <pc:sldMk cId="2317657084" sldId="2147377543"/>
        </pc:sldMkLst>
      </pc:sldChg>
      <pc:sldChg chg="del">
        <pc:chgData name="Karanfil, Fatih" userId="0cc277bf-29b4-42b7-8562-324ba398aeda" providerId="ADAL" clId="{A7DE6677-BB58-43EA-B2DF-A02B9EF26F2D}" dt="2023-11-02T06:55:16.647" v="322" actId="47"/>
        <pc:sldMkLst>
          <pc:docMk/>
          <pc:sldMk cId="2038152598" sldId="2147377544"/>
        </pc:sldMkLst>
      </pc:sldChg>
      <pc:sldChg chg="addSp delSp modSp del mod">
        <pc:chgData name="Karanfil, Fatih" userId="0cc277bf-29b4-42b7-8562-324ba398aeda" providerId="ADAL" clId="{A7DE6677-BB58-43EA-B2DF-A02B9EF26F2D}" dt="2023-11-05T06:25:52.664" v="1195" actId="47"/>
        <pc:sldMkLst>
          <pc:docMk/>
          <pc:sldMk cId="3404869154" sldId="2147377545"/>
        </pc:sldMkLst>
        <pc:spChg chg="add del mod">
          <ac:chgData name="Karanfil, Fatih" userId="0cc277bf-29b4-42b7-8562-324ba398aeda" providerId="ADAL" clId="{A7DE6677-BB58-43EA-B2DF-A02B9EF26F2D}" dt="2023-11-02T11:53:41.033" v="1128" actId="478"/>
          <ac:spMkLst>
            <pc:docMk/>
            <pc:sldMk cId="3404869154" sldId="2147377545"/>
            <ac:spMk id="2" creationId="{934BED0C-783D-D868-D3A6-DA3284FF1782}"/>
          </ac:spMkLst>
        </pc:spChg>
        <pc:spChg chg="mod">
          <ac:chgData name="Karanfil, Fatih" userId="0cc277bf-29b4-42b7-8562-324ba398aeda" providerId="ADAL" clId="{A7DE6677-BB58-43EA-B2DF-A02B9EF26F2D}" dt="2023-11-02T11:53:38.474" v="1127" actId="20577"/>
          <ac:spMkLst>
            <pc:docMk/>
            <pc:sldMk cId="3404869154" sldId="2147377545"/>
            <ac:spMk id="5" creationId="{316B8079-4A76-825B-BA7C-2BAA58813591}"/>
          </ac:spMkLst>
        </pc:spChg>
      </pc:sldChg>
      <pc:sldChg chg="modSp mod ord">
        <pc:chgData name="Karanfil, Fatih" userId="0cc277bf-29b4-42b7-8562-324ba398aeda" providerId="ADAL" clId="{A7DE6677-BB58-43EA-B2DF-A02B9EF26F2D}" dt="2023-11-05T07:20:25.460" v="1794" actId="20577"/>
        <pc:sldMkLst>
          <pc:docMk/>
          <pc:sldMk cId="2482152582" sldId="2147377546"/>
        </pc:sldMkLst>
        <pc:spChg chg="mod">
          <ac:chgData name="Karanfil, Fatih" userId="0cc277bf-29b4-42b7-8562-324ba398aeda" providerId="ADAL" clId="{A7DE6677-BB58-43EA-B2DF-A02B9EF26F2D}" dt="2023-11-05T07:20:25.460" v="1794" actId="20577"/>
          <ac:spMkLst>
            <pc:docMk/>
            <pc:sldMk cId="2482152582" sldId="2147377546"/>
            <ac:spMk id="5" creationId="{316B8079-4A76-825B-BA7C-2BAA58813591}"/>
          </ac:spMkLst>
        </pc:spChg>
      </pc:sldChg>
      <pc:sldChg chg="ord">
        <pc:chgData name="Karanfil, Fatih" userId="0cc277bf-29b4-42b7-8562-324ba398aeda" providerId="ADAL" clId="{A7DE6677-BB58-43EA-B2DF-A02B9EF26F2D}" dt="2023-11-02T11:27:24.768" v="867"/>
        <pc:sldMkLst>
          <pc:docMk/>
          <pc:sldMk cId="76012462" sldId="2147377547"/>
        </pc:sldMkLst>
      </pc:sldChg>
      <pc:sldChg chg="addSp delSp modSp mod ord modAnim">
        <pc:chgData name="Karanfil, Fatih" userId="0cc277bf-29b4-42b7-8562-324ba398aeda" providerId="ADAL" clId="{A7DE6677-BB58-43EA-B2DF-A02B9EF26F2D}" dt="2023-11-05T07:48:51.469" v="2273" actId="14100"/>
        <pc:sldMkLst>
          <pc:docMk/>
          <pc:sldMk cId="2367233585" sldId="2147377548"/>
        </pc:sldMkLst>
        <pc:spChg chg="add del mod">
          <ac:chgData name="Karanfil, Fatih" userId="0cc277bf-29b4-42b7-8562-324ba398aeda" providerId="ADAL" clId="{A7DE6677-BB58-43EA-B2DF-A02B9EF26F2D}" dt="2023-11-05T06:52:30.337" v="1419" actId="478"/>
          <ac:spMkLst>
            <pc:docMk/>
            <pc:sldMk cId="2367233585" sldId="2147377548"/>
            <ac:spMk id="2" creationId="{F2000769-B896-4539-D774-9643D9517250}"/>
          </ac:spMkLst>
        </pc:spChg>
        <pc:spChg chg="add del mod">
          <ac:chgData name="Karanfil, Fatih" userId="0cc277bf-29b4-42b7-8562-324ba398aeda" providerId="ADAL" clId="{A7DE6677-BB58-43EA-B2DF-A02B9EF26F2D}" dt="2023-11-05T07:38:17.025" v="2088" actId="1037"/>
          <ac:spMkLst>
            <pc:docMk/>
            <pc:sldMk cId="2367233585" sldId="2147377548"/>
            <ac:spMk id="8" creationId="{7AAD778C-0A27-18EF-C4F0-C57A604EC949}"/>
          </ac:spMkLst>
        </pc:spChg>
        <pc:spChg chg="add mod">
          <ac:chgData name="Karanfil, Fatih" userId="0cc277bf-29b4-42b7-8562-324ba398aeda" providerId="ADAL" clId="{A7DE6677-BB58-43EA-B2DF-A02B9EF26F2D}" dt="2023-11-05T07:38:17.025" v="2088" actId="1037"/>
          <ac:spMkLst>
            <pc:docMk/>
            <pc:sldMk cId="2367233585" sldId="2147377548"/>
            <ac:spMk id="10" creationId="{52161322-3D20-3802-5B85-D63F2C097DAA}"/>
          </ac:spMkLst>
        </pc:spChg>
        <pc:spChg chg="add mod">
          <ac:chgData name="Karanfil, Fatih" userId="0cc277bf-29b4-42b7-8562-324ba398aeda" providerId="ADAL" clId="{A7DE6677-BB58-43EA-B2DF-A02B9EF26F2D}" dt="2023-11-05T07:38:17.025" v="2088" actId="1037"/>
          <ac:spMkLst>
            <pc:docMk/>
            <pc:sldMk cId="2367233585" sldId="2147377548"/>
            <ac:spMk id="12" creationId="{2270A24D-3E40-3D99-FD4B-2C42BB3E291D}"/>
          </ac:spMkLst>
        </pc:spChg>
        <pc:spChg chg="add del mod">
          <ac:chgData name="Karanfil, Fatih" userId="0cc277bf-29b4-42b7-8562-324ba398aeda" providerId="ADAL" clId="{A7DE6677-BB58-43EA-B2DF-A02B9EF26F2D}" dt="2023-11-05T06:54:21.568" v="1443" actId="478"/>
          <ac:spMkLst>
            <pc:docMk/>
            <pc:sldMk cId="2367233585" sldId="2147377548"/>
            <ac:spMk id="14" creationId="{645A08B1-C070-8566-4CBC-A4AA35294E9C}"/>
          </ac:spMkLst>
        </pc:spChg>
        <pc:spChg chg="add mod ord">
          <ac:chgData name="Karanfil, Fatih" userId="0cc277bf-29b4-42b7-8562-324ba398aeda" providerId="ADAL" clId="{A7DE6677-BB58-43EA-B2DF-A02B9EF26F2D}" dt="2023-11-05T07:48:51.469" v="2273" actId="14100"/>
          <ac:spMkLst>
            <pc:docMk/>
            <pc:sldMk cId="2367233585" sldId="2147377548"/>
            <ac:spMk id="16" creationId="{5B14B9AB-9471-D21D-D898-D104E4A34082}"/>
          </ac:spMkLst>
        </pc:spChg>
        <pc:graphicFrameChg chg="add del mod">
          <ac:chgData name="Karanfil, Fatih" userId="0cc277bf-29b4-42b7-8562-324ba398aeda" providerId="ADAL" clId="{A7DE6677-BB58-43EA-B2DF-A02B9EF26F2D}" dt="2023-11-05T06:51:34.075" v="1404" actId="12084"/>
          <ac:graphicFrameMkLst>
            <pc:docMk/>
            <pc:sldMk cId="2367233585" sldId="2147377548"/>
            <ac:graphicFrameMk id="3" creationId="{9626D446-BF71-81B7-9FB8-E967DF444AB8}"/>
          </ac:graphicFrameMkLst>
        </pc:graphicFrameChg>
        <pc:graphicFrameChg chg="add del mod">
          <ac:chgData name="Karanfil, Fatih" userId="0cc277bf-29b4-42b7-8562-324ba398aeda" providerId="ADAL" clId="{A7DE6677-BB58-43EA-B2DF-A02B9EF26F2D}" dt="2023-11-05T06:56:19.371" v="1448" actId="12084"/>
          <ac:graphicFrameMkLst>
            <pc:docMk/>
            <pc:sldMk cId="2367233585" sldId="2147377548"/>
            <ac:graphicFrameMk id="15" creationId="{2CC8419C-05F8-7592-07C0-AD8F0EE2BCF3}"/>
          </ac:graphicFrameMkLst>
        </pc:graphicFrameChg>
      </pc:sldChg>
      <pc:sldChg chg="del ord">
        <pc:chgData name="Karanfil, Fatih" userId="0cc277bf-29b4-42b7-8562-324ba398aeda" providerId="ADAL" clId="{A7DE6677-BB58-43EA-B2DF-A02B9EF26F2D}" dt="2023-11-02T11:25:09.369" v="857" actId="47"/>
        <pc:sldMkLst>
          <pc:docMk/>
          <pc:sldMk cId="801478461" sldId="2147377549"/>
        </pc:sldMkLst>
      </pc:sldChg>
      <pc:sldChg chg="ord modAnim">
        <pc:chgData name="Karanfil, Fatih" userId="0cc277bf-29b4-42b7-8562-324ba398aeda" providerId="ADAL" clId="{A7DE6677-BB58-43EA-B2DF-A02B9EF26F2D}" dt="2023-11-05T07:02:07.513" v="1524"/>
        <pc:sldMkLst>
          <pc:docMk/>
          <pc:sldMk cId="4154864473" sldId="2147377550"/>
        </pc:sldMkLst>
      </pc:sldChg>
      <pc:sldChg chg="ord modAnim">
        <pc:chgData name="Karanfil, Fatih" userId="0cc277bf-29b4-42b7-8562-324ba398aeda" providerId="ADAL" clId="{A7DE6677-BB58-43EA-B2DF-A02B9EF26F2D}" dt="2023-11-05T07:04:27.611" v="1529"/>
        <pc:sldMkLst>
          <pc:docMk/>
          <pc:sldMk cId="2402272325" sldId="2147377551"/>
        </pc:sldMkLst>
      </pc:sldChg>
      <pc:sldChg chg="addSp delSp modSp mod ord modAnim">
        <pc:chgData name="Karanfil, Fatih" userId="0cc277bf-29b4-42b7-8562-324ba398aeda" providerId="ADAL" clId="{A7DE6677-BB58-43EA-B2DF-A02B9EF26F2D}" dt="2023-11-05T07:48:39.505" v="2272" actId="14100"/>
        <pc:sldMkLst>
          <pc:docMk/>
          <pc:sldMk cId="1760133724" sldId="2147377552"/>
        </pc:sldMkLst>
        <pc:spChg chg="del mod">
          <ac:chgData name="Karanfil, Fatih" userId="0cc277bf-29b4-42b7-8562-324ba398aeda" providerId="ADAL" clId="{A7DE6677-BB58-43EA-B2DF-A02B9EF26F2D}" dt="2023-11-05T06:59:08.602" v="1486" actId="478"/>
          <ac:spMkLst>
            <pc:docMk/>
            <pc:sldMk cId="1760133724" sldId="2147377552"/>
            <ac:spMk id="2" creationId="{3B560246-4F64-89FE-63D0-7FCB9C442DB7}"/>
          </ac:spMkLst>
        </pc:spChg>
        <pc:spChg chg="add mod">
          <ac:chgData name="Karanfil, Fatih" userId="0cc277bf-29b4-42b7-8562-324ba398aeda" providerId="ADAL" clId="{A7DE6677-BB58-43EA-B2DF-A02B9EF26F2D}" dt="2023-11-05T07:40:24.300" v="2162" actId="1036"/>
          <ac:spMkLst>
            <pc:docMk/>
            <pc:sldMk cId="1760133724" sldId="2147377552"/>
            <ac:spMk id="4" creationId="{A021E2D1-1B6C-2AA8-844C-6C3F6AB4F7FE}"/>
          </ac:spMkLst>
        </pc:spChg>
        <pc:spChg chg="add mod">
          <ac:chgData name="Karanfil, Fatih" userId="0cc277bf-29b4-42b7-8562-324ba398aeda" providerId="ADAL" clId="{A7DE6677-BB58-43EA-B2DF-A02B9EF26F2D}" dt="2023-11-05T07:40:24.300" v="2162" actId="1036"/>
          <ac:spMkLst>
            <pc:docMk/>
            <pc:sldMk cId="1760133724" sldId="2147377552"/>
            <ac:spMk id="9" creationId="{D3BCAF03-6B31-F9C8-ECA9-3BA4D4296FCB}"/>
          </ac:spMkLst>
        </pc:spChg>
        <pc:spChg chg="add mod">
          <ac:chgData name="Karanfil, Fatih" userId="0cc277bf-29b4-42b7-8562-324ba398aeda" providerId="ADAL" clId="{A7DE6677-BB58-43EA-B2DF-A02B9EF26F2D}" dt="2023-11-05T07:40:24.300" v="2162" actId="1036"/>
          <ac:spMkLst>
            <pc:docMk/>
            <pc:sldMk cId="1760133724" sldId="2147377552"/>
            <ac:spMk id="11" creationId="{F1D83D81-CFA7-F6AE-EFBC-D61261636546}"/>
          </ac:spMkLst>
        </pc:spChg>
        <pc:spChg chg="add mod">
          <ac:chgData name="Karanfil, Fatih" userId="0cc277bf-29b4-42b7-8562-324ba398aeda" providerId="ADAL" clId="{A7DE6677-BB58-43EA-B2DF-A02B9EF26F2D}" dt="2023-11-05T07:40:24.300" v="2162" actId="1036"/>
          <ac:spMkLst>
            <pc:docMk/>
            <pc:sldMk cId="1760133724" sldId="2147377552"/>
            <ac:spMk id="13" creationId="{7CBA8CAF-1463-B316-66D2-7B320E7E1B76}"/>
          </ac:spMkLst>
        </pc:spChg>
        <pc:spChg chg="add mod ord">
          <ac:chgData name="Karanfil, Fatih" userId="0cc277bf-29b4-42b7-8562-324ba398aeda" providerId="ADAL" clId="{A7DE6677-BB58-43EA-B2DF-A02B9EF26F2D}" dt="2023-11-05T07:48:39.505" v="2272" actId="14100"/>
          <ac:spMkLst>
            <pc:docMk/>
            <pc:sldMk cId="1760133724" sldId="2147377552"/>
            <ac:spMk id="14" creationId="{24D14845-AD08-5DDE-650B-51B06EF26803}"/>
          </ac:spMkLst>
        </pc:spChg>
      </pc:sldChg>
      <pc:sldChg chg="addSp delSp modSp mod">
        <pc:chgData name="Karanfil, Fatih" userId="0cc277bf-29b4-42b7-8562-324ba398aeda" providerId="ADAL" clId="{A7DE6677-BB58-43EA-B2DF-A02B9EF26F2D}" dt="2023-11-05T07:19:01.197" v="1760" actId="1038"/>
        <pc:sldMkLst>
          <pc:docMk/>
          <pc:sldMk cId="377234" sldId="2147377553"/>
        </pc:sldMkLst>
        <pc:spChg chg="del mod">
          <ac:chgData name="Karanfil, Fatih" userId="0cc277bf-29b4-42b7-8562-324ba398aeda" providerId="ADAL" clId="{A7DE6677-BB58-43EA-B2DF-A02B9EF26F2D}" dt="2023-11-05T07:07:20.887" v="1547" actId="478"/>
          <ac:spMkLst>
            <pc:docMk/>
            <pc:sldMk cId="377234" sldId="2147377553"/>
            <ac:spMk id="2" creationId="{071A1304-7846-1E15-6B19-D4BEB1311A6A}"/>
          </ac:spMkLst>
        </pc:spChg>
        <pc:spChg chg="add del mod">
          <ac:chgData name="Karanfil, Fatih" userId="0cc277bf-29b4-42b7-8562-324ba398aeda" providerId="ADAL" clId="{A7DE6677-BB58-43EA-B2DF-A02B9EF26F2D}" dt="2023-11-05T07:07:34.359" v="1550" actId="12084"/>
          <ac:spMkLst>
            <pc:docMk/>
            <pc:sldMk cId="377234" sldId="2147377553"/>
            <ac:spMk id="4" creationId="{F206137C-4074-DB69-A623-65204F5D3E2D}"/>
          </ac:spMkLst>
        </pc:spChg>
        <pc:spChg chg="add del">
          <ac:chgData name="Karanfil, Fatih" userId="0cc277bf-29b4-42b7-8562-324ba398aeda" providerId="ADAL" clId="{A7DE6677-BB58-43EA-B2DF-A02B9EF26F2D}" dt="2023-11-05T07:08:51.614" v="1553" actId="12084"/>
          <ac:spMkLst>
            <pc:docMk/>
            <pc:sldMk cId="377234" sldId="2147377553"/>
            <ac:spMk id="9" creationId="{98BEC828-9BE6-FF40-3731-6786A7C8B9B2}"/>
          </ac:spMkLst>
        </pc:spChg>
        <pc:spChg chg="add del">
          <ac:chgData name="Karanfil, Fatih" userId="0cc277bf-29b4-42b7-8562-324ba398aeda" providerId="ADAL" clId="{A7DE6677-BB58-43EA-B2DF-A02B9EF26F2D}" dt="2023-11-05T07:08:59.793" v="1554" actId="12084"/>
          <ac:spMkLst>
            <pc:docMk/>
            <pc:sldMk cId="377234" sldId="2147377553"/>
            <ac:spMk id="11" creationId="{EA1C5740-611A-4F85-EE8C-415C397040C4}"/>
          </ac:spMkLst>
        </pc:spChg>
        <pc:spChg chg="add del mod">
          <ac:chgData name="Karanfil, Fatih" userId="0cc277bf-29b4-42b7-8562-324ba398aeda" providerId="ADAL" clId="{A7DE6677-BB58-43EA-B2DF-A02B9EF26F2D}" dt="2023-11-05T07:09:05.720" v="1555" actId="12084"/>
          <ac:spMkLst>
            <pc:docMk/>
            <pc:sldMk cId="377234" sldId="2147377553"/>
            <ac:spMk id="13" creationId="{DBEFB8CD-1CC6-39B6-C962-A79BD139D740}"/>
          </ac:spMkLst>
        </pc:spChg>
        <pc:spChg chg="mod">
          <ac:chgData name="Karanfil, Fatih" userId="0cc277bf-29b4-42b7-8562-324ba398aeda" providerId="ADAL" clId="{A7DE6677-BB58-43EA-B2DF-A02B9EF26F2D}" dt="2023-11-05T07:18:01.922" v="1724" actId="18245"/>
          <ac:spMkLst>
            <pc:docMk/>
            <pc:sldMk cId="377234" sldId="2147377553"/>
            <ac:spMk id="19" creationId="{F1C4BFBA-7877-C19C-786B-355229FF55F3}"/>
          </ac:spMkLst>
        </pc:spChg>
        <pc:spChg chg="mod">
          <ac:chgData name="Karanfil, Fatih" userId="0cc277bf-29b4-42b7-8562-324ba398aeda" providerId="ADAL" clId="{A7DE6677-BB58-43EA-B2DF-A02B9EF26F2D}" dt="2023-11-05T07:17:33.300" v="1717" actId="18245"/>
          <ac:spMkLst>
            <pc:docMk/>
            <pc:sldMk cId="377234" sldId="2147377553"/>
            <ac:spMk id="20" creationId="{9BACEBC9-D9DB-A83E-B6A1-91BCA0DAA6E2}"/>
          </ac:spMkLst>
        </pc:spChg>
        <pc:spChg chg="mod">
          <ac:chgData name="Karanfil, Fatih" userId="0cc277bf-29b4-42b7-8562-324ba398aeda" providerId="ADAL" clId="{A7DE6677-BB58-43EA-B2DF-A02B9EF26F2D}" dt="2023-11-05T07:18:01.298" v="1723" actId="18245"/>
          <ac:spMkLst>
            <pc:docMk/>
            <pc:sldMk cId="377234" sldId="2147377553"/>
            <ac:spMk id="22" creationId="{63131679-793F-5A31-3B2F-D0E39EA6EE99}"/>
          </ac:spMkLst>
        </pc:spChg>
        <pc:spChg chg="mod">
          <ac:chgData name="Karanfil, Fatih" userId="0cc277bf-29b4-42b7-8562-324ba398aeda" providerId="ADAL" clId="{A7DE6677-BB58-43EA-B2DF-A02B9EF26F2D}" dt="2023-11-05T07:17:41.428" v="1718" actId="18245"/>
          <ac:spMkLst>
            <pc:docMk/>
            <pc:sldMk cId="377234" sldId="2147377553"/>
            <ac:spMk id="23" creationId="{ECB845A8-666B-0C0C-0A8A-06D5B2348760}"/>
          </ac:spMkLst>
        </pc:spChg>
        <pc:spChg chg="mod">
          <ac:chgData name="Karanfil, Fatih" userId="0cc277bf-29b4-42b7-8562-324ba398aeda" providerId="ADAL" clId="{A7DE6677-BB58-43EA-B2DF-A02B9EF26F2D}" dt="2023-11-05T07:18:00.612" v="1722" actId="18245"/>
          <ac:spMkLst>
            <pc:docMk/>
            <pc:sldMk cId="377234" sldId="2147377553"/>
            <ac:spMk id="25" creationId="{B604889C-E4B4-1547-EF3B-E780CCCE6833}"/>
          </ac:spMkLst>
        </pc:spChg>
        <pc:spChg chg="mod">
          <ac:chgData name="Karanfil, Fatih" userId="0cc277bf-29b4-42b7-8562-324ba398aeda" providerId="ADAL" clId="{A7DE6677-BB58-43EA-B2DF-A02B9EF26F2D}" dt="2023-11-05T07:17:45.502" v="1719" actId="18245"/>
          <ac:spMkLst>
            <pc:docMk/>
            <pc:sldMk cId="377234" sldId="2147377553"/>
            <ac:spMk id="26" creationId="{12DAD4BF-5060-61B4-1376-81160EDEF75E}"/>
          </ac:spMkLst>
        </pc:spChg>
        <pc:spChg chg="mod">
          <ac:chgData name="Karanfil, Fatih" userId="0cc277bf-29b4-42b7-8562-324ba398aeda" providerId="ADAL" clId="{A7DE6677-BB58-43EA-B2DF-A02B9EF26F2D}" dt="2023-11-05T07:17:59.831" v="1721" actId="18245"/>
          <ac:spMkLst>
            <pc:docMk/>
            <pc:sldMk cId="377234" sldId="2147377553"/>
            <ac:spMk id="28" creationId="{A57F94E2-B19C-045B-BDA8-7FDB9585FC40}"/>
          </ac:spMkLst>
        </pc:spChg>
        <pc:spChg chg="mod">
          <ac:chgData name="Karanfil, Fatih" userId="0cc277bf-29b4-42b7-8562-324ba398aeda" providerId="ADAL" clId="{A7DE6677-BB58-43EA-B2DF-A02B9EF26F2D}" dt="2023-11-05T07:17:50.177" v="1720" actId="18245"/>
          <ac:spMkLst>
            <pc:docMk/>
            <pc:sldMk cId="377234" sldId="2147377553"/>
            <ac:spMk id="29" creationId="{81937B7B-287A-2A32-B20E-AC81A4ACF3FA}"/>
          </ac:spMkLst>
        </pc:spChg>
        <pc:grpChg chg="mod">
          <ac:chgData name="Karanfil, Fatih" userId="0cc277bf-29b4-42b7-8562-324ba398aeda" providerId="ADAL" clId="{A7DE6677-BB58-43EA-B2DF-A02B9EF26F2D}" dt="2023-11-05T07:18:01.922" v="1724" actId="18245"/>
          <ac:grpSpMkLst>
            <pc:docMk/>
            <pc:sldMk cId="377234" sldId="2147377553"/>
            <ac:grpSpMk id="18" creationId="{D98FD369-49A0-4A0B-1DBD-2870554E3433}"/>
          </ac:grpSpMkLst>
        </pc:grpChg>
        <pc:grpChg chg="mod">
          <ac:chgData name="Karanfil, Fatih" userId="0cc277bf-29b4-42b7-8562-324ba398aeda" providerId="ADAL" clId="{A7DE6677-BB58-43EA-B2DF-A02B9EF26F2D}" dt="2023-11-05T07:18:01.298" v="1723" actId="18245"/>
          <ac:grpSpMkLst>
            <pc:docMk/>
            <pc:sldMk cId="377234" sldId="2147377553"/>
            <ac:grpSpMk id="21" creationId="{E83EB420-1DD4-F404-8F55-5CE890525096}"/>
          </ac:grpSpMkLst>
        </pc:grpChg>
        <pc:grpChg chg="mod">
          <ac:chgData name="Karanfil, Fatih" userId="0cc277bf-29b4-42b7-8562-324ba398aeda" providerId="ADAL" clId="{A7DE6677-BB58-43EA-B2DF-A02B9EF26F2D}" dt="2023-11-05T07:18:00.612" v="1722" actId="18245"/>
          <ac:grpSpMkLst>
            <pc:docMk/>
            <pc:sldMk cId="377234" sldId="2147377553"/>
            <ac:grpSpMk id="24" creationId="{C78093C3-6E49-FECC-B160-CD01A8E54EF7}"/>
          </ac:grpSpMkLst>
        </pc:grpChg>
        <pc:grpChg chg="mod">
          <ac:chgData name="Karanfil, Fatih" userId="0cc277bf-29b4-42b7-8562-324ba398aeda" providerId="ADAL" clId="{A7DE6677-BB58-43EA-B2DF-A02B9EF26F2D}" dt="2023-11-05T07:17:59.831" v="1721" actId="18245"/>
          <ac:grpSpMkLst>
            <pc:docMk/>
            <pc:sldMk cId="377234" sldId="2147377553"/>
            <ac:grpSpMk id="27" creationId="{85B73E86-3D26-EEF1-F3BB-9CD2AB0A3217}"/>
          </ac:grpSpMkLst>
        </pc:grpChg>
        <pc:graphicFrameChg chg="add del mod">
          <ac:chgData name="Karanfil, Fatih" userId="0cc277bf-29b4-42b7-8562-324ba398aeda" providerId="ADAL" clId="{A7DE6677-BB58-43EA-B2DF-A02B9EF26F2D}" dt="2023-11-05T07:19:01.197" v="1760" actId="1038"/>
          <ac:graphicFrameMkLst>
            <pc:docMk/>
            <pc:sldMk cId="377234" sldId="2147377553"/>
            <ac:graphicFrameMk id="14" creationId="{9E2DFC9A-DED0-4681-901F-228B2B5FC946}"/>
          </ac:graphicFrameMkLst>
        </pc:graphicFrameChg>
        <pc:graphicFrameChg chg="add del mod">
          <ac:chgData name="Karanfil, Fatih" userId="0cc277bf-29b4-42b7-8562-324ba398aeda" providerId="ADAL" clId="{A7DE6677-BB58-43EA-B2DF-A02B9EF26F2D}" dt="2023-11-05T07:18:18.935" v="1737" actId="1035"/>
          <ac:graphicFrameMkLst>
            <pc:docMk/>
            <pc:sldMk cId="377234" sldId="2147377553"/>
            <ac:graphicFrameMk id="15" creationId="{E071910D-49A0-1225-1EB8-2690B4F13224}"/>
          </ac:graphicFrameMkLst>
        </pc:graphicFrameChg>
        <pc:graphicFrameChg chg="add del mod">
          <ac:chgData name="Karanfil, Fatih" userId="0cc277bf-29b4-42b7-8562-324ba398aeda" providerId="ADAL" clId="{A7DE6677-BB58-43EA-B2DF-A02B9EF26F2D}" dt="2023-11-05T07:18:24.229" v="1742" actId="1035"/>
          <ac:graphicFrameMkLst>
            <pc:docMk/>
            <pc:sldMk cId="377234" sldId="2147377553"/>
            <ac:graphicFrameMk id="16" creationId="{8969B97F-63EA-A42C-1E0D-0CC49E4FC2FC}"/>
          </ac:graphicFrameMkLst>
        </pc:graphicFrameChg>
        <pc:graphicFrameChg chg="add del mod">
          <ac:chgData name="Karanfil, Fatih" userId="0cc277bf-29b4-42b7-8562-324ba398aeda" providerId="ADAL" clId="{A7DE6677-BB58-43EA-B2DF-A02B9EF26F2D}" dt="2023-11-05T07:18:32.141" v="1753" actId="1035"/>
          <ac:graphicFrameMkLst>
            <pc:docMk/>
            <pc:sldMk cId="377234" sldId="2147377553"/>
            <ac:graphicFrameMk id="17" creationId="{294854E2-D7F6-5CFE-E33E-052A469FED0A}"/>
          </ac:graphicFrameMkLst>
        </pc:graphicFrameChg>
      </pc:sldChg>
      <pc:sldChg chg="addSp delSp modSp mod delAnim modAnim">
        <pc:chgData name="Karanfil, Fatih" userId="0cc277bf-29b4-42b7-8562-324ba398aeda" providerId="ADAL" clId="{A7DE6677-BB58-43EA-B2DF-A02B9EF26F2D}" dt="2023-11-05T07:48:07.796" v="2271" actId="14100"/>
        <pc:sldMkLst>
          <pc:docMk/>
          <pc:sldMk cId="536275920" sldId="2147377554"/>
        </pc:sldMkLst>
        <pc:spChg chg="del mod">
          <ac:chgData name="Karanfil, Fatih" userId="0cc277bf-29b4-42b7-8562-324ba398aeda" providerId="ADAL" clId="{A7DE6677-BB58-43EA-B2DF-A02B9EF26F2D}" dt="2023-11-05T07:29:52.361" v="1803" actId="12084"/>
          <ac:spMkLst>
            <pc:docMk/>
            <pc:sldMk cId="536275920" sldId="2147377554"/>
            <ac:spMk id="2" creationId="{36E03298-5BB3-D050-E551-5E0ADDBB0FA3}"/>
          </ac:spMkLst>
        </pc:spChg>
        <pc:spChg chg="mod">
          <ac:chgData name="Karanfil, Fatih" userId="0cc277bf-29b4-42b7-8562-324ba398aeda" providerId="ADAL" clId="{A7DE6677-BB58-43EA-B2DF-A02B9EF26F2D}" dt="2023-11-05T07:04:57.616" v="1536" actId="20577"/>
          <ac:spMkLst>
            <pc:docMk/>
            <pc:sldMk cId="536275920" sldId="2147377554"/>
            <ac:spMk id="5" creationId="{316B8079-4A76-825B-BA7C-2BAA58813591}"/>
          </ac:spMkLst>
        </pc:spChg>
        <pc:spChg chg="del mod topLvl">
          <ac:chgData name="Karanfil, Fatih" userId="0cc277bf-29b4-42b7-8562-324ba398aeda" providerId="ADAL" clId="{A7DE6677-BB58-43EA-B2DF-A02B9EF26F2D}" dt="2023-11-05T07:31:33.332" v="1827" actId="478"/>
          <ac:spMkLst>
            <pc:docMk/>
            <pc:sldMk cId="536275920" sldId="2147377554"/>
            <ac:spMk id="8" creationId="{5E2854EA-B68F-C3D1-4EEF-BE0D883EE3F5}"/>
          </ac:spMkLst>
        </pc:spChg>
        <pc:spChg chg="del mod">
          <ac:chgData name="Karanfil, Fatih" userId="0cc277bf-29b4-42b7-8562-324ba398aeda" providerId="ADAL" clId="{A7DE6677-BB58-43EA-B2DF-A02B9EF26F2D}" dt="2023-11-05T07:31:01.318" v="1819" actId="21"/>
          <ac:spMkLst>
            <pc:docMk/>
            <pc:sldMk cId="536275920" sldId="2147377554"/>
            <ac:spMk id="9" creationId="{76FB15AD-F2F1-7093-A1DD-77D2B1055960}"/>
          </ac:spMkLst>
        </pc:spChg>
        <pc:spChg chg="del mod">
          <ac:chgData name="Karanfil, Fatih" userId="0cc277bf-29b4-42b7-8562-324ba398aeda" providerId="ADAL" clId="{A7DE6677-BB58-43EA-B2DF-A02B9EF26F2D}" dt="2023-11-05T07:30:52.776" v="1816" actId="21"/>
          <ac:spMkLst>
            <pc:docMk/>
            <pc:sldMk cId="536275920" sldId="2147377554"/>
            <ac:spMk id="10" creationId="{AB786F80-3962-FE98-40F6-4FF7212FB8FD}"/>
          </ac:spMkLst>
        </pc:spChg>
        <pc:spChg chg="del mod topLvl">
          <ac:chgData name="Karanfil, Fatih" userId="0cc277bf-29b4-42b7-8562-324ba398aeda" providerId="ADAL" clId="{A7DE6677-BB58-43EA-B2DF-A02B9EF26F2D}" dt="2023-11-05T07:31:11.250" v="1822" actId="21"/>
          <ac:spMkLst>
            <pc:docMk/>
            <pc:sldMk cId="536275920" sldId="2147377554"/>
            <ac:spMk id="11" creationId="{3E07FF01-35AA-4DC2-49CD-D6BA249AAE06}"/>
          </ac:spMkLst>
        </pc:spChg>
        <pc:spChg chg="add del mod">
          <ac:chgData name="Karanfil, Fatih" userId="0cc277bf-29b4-42b7-8562-324ba398aeda" providerId="ADAL" clId="{A7DE6677-BB58-43EA-B2DF-A02B9EF26F2D}" dt="2023-11-05T07:46:57.950" v="2183" actId="478"/>
          <ac:spMkLst>
            <pc:docMk/>
            <pc:sldMk cId="536275920" sldId="2147377554"/>
            <ac:spMk id="12" creationId="{4DEF6B3A-8DDA-7ECE-2B42-69BFB9C467FA}"/>
          </ac:spMkLst>
        </pc:spChg>
        <pc:spChg chg="add del mod">
          <ac:chgData name="Karanfil, Fatih" userId="0cc277bf-29b4-42b7-8562-324ba398aeda" providerId="ADAL" clId="{A7DE6677-BB58-43EA-B2DF-A02B9EF26F2D}" dt="2023-11-05T07:46:22.102" v="2174" actId="478"/>
          <ac:spMkLst>
            <pc:docMk/>
            <pc:sldMk cId="536275920" sldId="2147377554"/>
            <ac:spMk id="13" creationId="{E0B7805F-DCEE-6119-1DA9-C08AC3B4243C}"/>
          </ac:spMkLst>
        </pc:spChg>
        <pc:spChg chg="add del mod">
          <ac:chgData name="Karanfil, Fatih" userId="0cc277bf-29b4-42b7-8562-324ba398aeda" providerId="ADAL" clId="{A7DE6677-BB58-43EA-B2DF-A02B9EF26F2D}" dt="2023-11-05T07:46:59.621" v="2184" actId="478"/>
          <ac:spMkLst>
            <pc:docMk/>
            <pc:sldMk cId="536275920" sldId="2147377554"/>
            <ac:spMk id="14" creationId="{2C85B6D7-0EAD-9761-69BC-E81F2C4F9B18}"/>
          </ac:spMkLst>
        </pc:spChg>
        <pc:spChg chg="add del mod">
          <ac:chgData name="Karanfil, Fatih" userId="0cc277bf-29b4-42b7-8562-324ba398aeda" providerId="ADAL" clId="{A7DE6677-BB58-43EA-B2DF-A02B9EF26F2D}" dt="2023-11-05T07:32:25.388" v="1833" actId="478"/>
          <ac:spMkLst>
            <pc:docMk/>
            <pc:sldMk cId="536275920" sldId="2147377554"/>
            <ac:spMk id="15" creationId="{F4D62FA3-3486-B9E1-0E06-7D70C33438AA}"/>
          </ac:spMkLst>
        </pc:spChg>
        <pc:spChg chg="add del">
          <ac:chgData name="Karanfil, Fatih" userId="0cc277bf-29b4-42b7-8562-324ba398aeda" providerId="ADAL" clId="{A7DE6677-BB58-43EA-B2DF-A02B9EF26F2D}" dt="2023-11-05T07:32:13.559" v="1832" actId="478"/>
          <ac:spMkLst>
            <pc:docMk/>
            <pc:sldMk cId="536275920" sldId="2147377554"/>
            <ac:spMk id="16" creationId="{EE3D0DBA-3ACF-973B-308A-8484B818439A}"/>
          </ac:spMkLst>
        </pc:spChg>
        <pc:spChg chg="add del mod ord">
          <ac:chgData name="Karanfil, Fatih" userId="0cc277bf-29b4-42b7-8562-324ba398aeda" providerId="ADAL" clId="{A7DE6677-BB58-43EA-B2DF-A02B9EF26F2D}" dt="2023-11-05T07:45:00.616" v="2168" actId="478"/>
          <ac:spMkLst>
            <pc:docMk/>
            <pc:sldMk cId="536275920" sldId="2147377554"/>
            <ac:spMk id="17" creationId="{D2008E33-D0B7-F7EF-80F4-DB9F2D71EDE3}"/>
          </ac:spMkLst>
        </pc:spChg>
        <pc:spChg chg="add mod ord">
          <ac:chgData name="Karanfil, Fatih" userId="0cc277bf-29b4-42b7-8562-324ba398aeda" providerId="ADAL" clId="{A7DE6677-BB58-43EA-B2DF-A02B9EF26F2D}" dt="2023-11-05T07:48:07.796" v="2271" actId="14100"/>
          <ac:spMkLst>
            <pc:docMk/>
            <pc:sldMk cId="536275920" sldId="2147377554"/>
            <ac:spMk id="18" creationId="{2087F20D-4785-CE47-6FF9-22B97B987668}"/>
          </ac:spMkLst>
        </pc:spChg>
        <pc:spChg chg="add mod">
          <ac:chgData name="Karanfil, Fatih" userId="0cc277bf-29b4-42b7-8562-324ba398aeda" providerId="ADAL" clId="{A7DE6677-BB58-43EA-B2DF-A02B9EF26F2D}" dt="2023-11-05T07:47:48.526" v="2242" actId="1035"/>
          <ac:spMkLst>
            <pc:docMk/>
            <pc:sldMk cId="536275920" sldId="2147377554"/>
            <ac:spMk id="20" creationId="{3B63093A-CDBD-E40B-0FD4-88D6611D3F36}"/>
          </ac:spMkLst>
        </pc:spChg>
        <pc:spChg chg="add mod">
          <ac:chgData name="Karanfil, Fatih" userId="0cc277bf-29b4-42b7-8562-324ba398aeda" providerId="ADAL" clId="{A7DE6677-BB58-43EA-B2DF-A02B9EF26F2D}" dt="2023-11-05T07:47:48.526" v="2242" actId="1035"/>
          <ac:spMkLst>
            <pc:docMk/>
            <pc:sldMk cId="536275920" sldId="2147377554"/>
            <ac:spMk id="22" creationId="{2D868BC8-972C-AC32-98E9-373E91E3D834}"/>
          </ac:spMkLst>
        </pc:spChg>
        <pc:spChg chg="add mod">
          <ac:chgData name="Karanfil, Fatih" userId="0cc277bf-29b4-42b7-8562-324ba398aeda" providerId="ADAL" clId="{A7DE6677-BB58-43EA-B2DF-A02B9EF26F2D}" dt="2023-11-05T07:47:48.526" v="2242" actId="1035"/>
          <ac:spMkLst>
            <pc:docMk/>
            <pc:sldMk cId="536275920" sldId="2147377554"/>
            <ac:spMk id="24" creationId="{A8927A4E-1DF6-66ED-CE58-8EB7F8D356F8}"/>
          </ac:spMkLst>
        </pc:spChg>
        <pc:grpChg chg="add del mod">
          <ac:chgData name="Karanfil, Fatih" userId="0cc277bf-29b4-42b7-8562-324ba398aeda" providerId="ADAL" clId="{A7DE6677-BB58-43EA-B2DF-A02B9EF26F2D}" dt="2023-11-05T07:31:11.250" v="1822" actId="21"/>
          <ac:grpSpMkLst>
            <pc:docMk/>
            <pc:sldMk cId="536275920" sldId="2147377554"/>
            <ac:grpSpMk id="4" creationId="{FBDD148B-7009-DEE6-F9AD-8C539B85F57A}"/>
          </ac:grpSpMkLst>
        </pc:grpChg>
        <pc:graphicFrameChg chg="add del mod">
          <ac:chgData name="Karanfil, Fatih" userId="0cc277bf-29b4-42b7-8562-324ba398aeda" providerId="ADAL" clId="{A7DE6677-BB58-43EA-B2DF-A02B9EF26F2D}" dt="2023-11-05T07:29:57.021" v="1804" actId="18245"/>
          <ac:graphicFrameMkLst>
            <pc:docMk/>
            <pc:sldMk cId="536275920" sldId="2147377554"/>
            <ac:graphicFrameMk id="3" creationId="{68C45153-DA0C-B6F5-E3F3-D95877B64E63}"/>
          </ac:graphicFrameMkLst>
        </pc:graphicFrameChg>
      </pc:sldChg>
      <pc:sldChg chg="del">
        <pc:chgData name="Karanfil, Fatih" userId="0cc277bf-29b4-42b7-8562-324ba398aeda" providerId="ADAL" clId="{A7DE6677-BB58-43EA-B2DF-A02B9EF26F2D}" dt="2023-11-02T06:52:31.695" v="317" actId="47"/>
        <pc:sldMkLst>
          <pc:docMk/>
          <pc:sldMk cId="1279543125" sldId="2147377555"/>
        </pc:sldMkLst>
      </pc:sldChg>
      <pc:sldChg chg="addSp delSp modSp add mod addAnim delAnim modAnim">
        <pc:chgData name="Karanfil, Fatih" userId="0cc277bf-29b4-42b7-8562-324ba398aeda" providerId="ADAL" clId="{A7DE6677-BB58-43EA-B2DF-A02B9EF26F2D}" dt="2023-11-02T11:22:13.823" v="856"/>
        <pc:sldMkLst>
          <pc:docMk/>
          <pc:sldMk cId="1561654767" sldId="2147377557"/>
        </pc:sldMkLst>
        <pc:spChg chg="add del mod">
          <ac:chgData name="Karanfil, Fatih" userId="0cc277bf-29b4-42b7-8562-324ba398aeda" providerId="ADAL" clId="{A7DE6677-BB58-43EA-B2DF-A02B9EF26F2D}" dt="2023-11-02T07:08:54.211" v="330" actId="478"/>
          <ac:spMkLst>
            <pc:docMk/>
            <pc:sldMk cId="1561654767" sldId="2147377557"/>
            <ac:spMk id="2" creationId="{046429D6-FA51-F588-0B43-25D19EF6359A}"/>
          </ac:spMkLst>
        </pc:spChg>
        <pc:spChg chg="add mod">
          <ac:chgData name="Karanfil, Fatih" userId="0cc277bf-29b4-42b7-8562-324ba398aeda" providerId="ADAL" clId="{A7DE6677-BB58-43EA-B2DF-A02B9EF26F2D}" dt="2023-11-02T07:18:59.231" v="657" actId="20577"/>
          <ac:spMkLst>
            <pc:docMk/>
            <pc:sldMk cId="1561654767" sldId="2147377557"/>
            <ac:spMk id="4" creationId="{B5720700-B965-D7FC-BCAC-73ABE81C95C7}"/>
          </ac:spMkLst>
        </pc:spChg>
        <pc:spChg chg="add del mod">
          <ac:chgData name="Karanfil, Fatih" userId="0cc277bf-29b4-42b7-8562-324ba398aeda" providerId="ADAL" clId="{A7DE6677-BB58-43EA-B2DF-A02B9EF26F2D}" dt="2023-11-02T07:14:50.002" v="485" actId="478"/>
          <ac:spMkLst>
            <pc:docMk/>
            <pc:sldMk cId="1561654767" sldId="2147377557"/>
            <ac:spMk id="7" creationId="{07BEB742-A5E0-7A4E-B072-E3177284921A}"/>
          </ac:spMkLst>
        </pc:spChg>
        <pc:spChg chg="add mod">
          <ac:chgData name="Karanfil, Fatih" userId="0cc277bf-29b4-42b7-8562-324ba398aeda" providerId="ADAL" clId="{A7DE6677-BB58-43EA-B2DF-A02B9EF26F2D}" dt="2023-11-02T07:19:17.213" v="674" actId="1076"/>
          <ac:spMkLst>
            <pc:docMk/>
            <pc:sldMk cId="1561654767" sldId="2147377557"/>
            <ac:spMk id="9" creationId="{EF5B1274-C5A6-37C6-66FD-DE1C23E2AF93}"/>
          </ac:spMkLst>
        </pc:spChg>
        <pc:spChg chg="add del mod">
          <ac:chgData name="Karanfil, Fatih" userId="0cc277bf-29b4-42b7-8562-324ba398aeda" providerId="ADAL" clId="{A7DE6677-BB58-43EA-B2DF-A02B9EF26F2D}" dt="2023-11-02T07:19:12.116" v="673" actId="1076"/>
          <ac:spMkLst>
            <pc:docMk/>
            <pc:sldMk cId="1561654767" sldId="2147377557"/>
            <ac:spMk id="10" creationId="{686BB7F5-BF0E-595D-32C3-4E34CFD7C380}"/>
          </ac:spMkLst>
        </pc:spChg>
        <pc:spChg chg="add mod">
          <ac:chgData name="Karanfil, Fatih" userId="0cc277bf-29b4-42b7-8562-324ba398aeda" providerId="ADAL" clId="{A7DE6677-BB58-43EA-B2DF-A02B9EF26F2D}" dt="2023-11-02T11:22:13.823" v="856"/>
          <ac:spMkLst>
            <pc:docMk/>
            <pc:sldMk cId="1561654767" sldId="2147377557"/>
            <ac:spMk id="11" creationId="{E6F2BFF4-71B3-36EC-4D75-D525BD76AECD}"/>
          </ac:spMkLst>
        </pc:spChg>
        <pc:spChg chg="add mod">
          <ac:chgData name="Karanfil, Fatih" userId="0cc277bf-29b4-42b7-8562-324ba398aeda" providerId="ADAL" clId="{A7DE6677-BB58-43EA-B2DF-A02B9EF26F2D}" dt="2023-11-02T07:24:54.580" v="709" actId="13822"/>
          <ac:spMkLst>
            <pc:docMk/>
            <pc:sldMk cId="1561654767" sldId="2147377557"/>
            <ac:spMk id="13" creationId="{275300C8-F6F3-4DBD-CDA4-31F270632970}"/>
          </ac:spMkLst>
        </pc:spChg>
        <pc:spChg chg="add mod">
          <ac:chgData name="Karanfil, Fatih" userId="0cc277bf-29b4-42b7-8562-324ba398aeda" providerId="ADAL" clId="{A7DE6677-BB58-43EA-B2DF-A02B9EF26F2D}" dt="2023-11-02T07:25:07.776" v="712" actId="13822"/>
          <ac:spMkLst>
            <pc:docMk/>
            <pc:sldMk cId="1561654767" sldId="2147377557"/>
            <ac:spMk id="14" creationId="{AE65EEF3-0E13-0EA9-0DC9-41C369619019}"/>
          </ac:spMkLst>
        </pc:spChg>
        <pc:spChg chg="add mod">
          <ac:chgData name="Karanfil, Fatih" userId="0cc277bf-29b4-42b7-8562-324ba398aeda" providerId="ADAL" clId="{A7DE6677-BB58-43EA-B2DF-A02B9EF26F2D}" dt="2023-11-02T07:25:04.067" v="711" actId="13822"/>
          <ac:spMkLst>
            <pc:docMk/>
            <pc:sldMk cId="1561654767" sldId="2147377557"/>
            <ac:spMk id="15" creationId="{FF957A61-F017-A043-EFC0-FCBD30AC8FE1}"/>
          </ac:spMkLst>
        </pc:spChg>
        <pc:spChg chg="add mod">
          <ac:chgData name="Karanfil, Fatih" userId="0cc277bf-29b4-42b7-8562-324ba398aeda" providerId="ADAL" clId="{A7DE6677-BB58-43EA-B2DF-A02B9EF26F2D}" dt="2023-11-02T07:25:00.138" v="710" actId="13822"/>
          <ac:spMkLst>
            <pc:docMk/>
            <pc:sldMk cId="1561654767" sldId="2147377557"/>
            <ac:spMk id="16" creationId="{B95B142F-9969-65B6-D7DE-531D1C3F0C75}"/>
          </ac:spMkLst>
        </pc:spChg>
        <pc:spChg chg="add del mod">
          <ac:chgData name="Karanfil, Fatih" userId="0cc277bf-29b4-42b7-8562-324ba398aeda" providerId="ADAL" clId="{A7DE6677-BB58-43EA-B2DF-A02B9EF26F2D}" dt="2023-11-02T07:41:52.317" v="714"/>
          <ac:spMkLst>
            <pc:docMk/>
            <pc:sldMk cId="1561654767" sldId="2147377557"/>
            <ac:spMk id="17" creationId="{7E10A6F7-2918-6808-9141-06197F72A89B}"/>
          </ac:spMkLst>
        </pc:spChg>
        <pc:spChg chg="add mod">
          <ac:chgData name="Karanfil, Fatih" userId="0cc277bf-29b4-42b7-8562-324ba398aeda" providerId="ADAL" clId="{A7DE6677-BB58-43EA-B2DF-A02B9EF26F2D}" dt="2023-11-02T11:09:51.051" v="756" actId="1076"/>
          <ac:spMkLst>
            <pc:docMk/>
            <pc:sldMk cId="1561654767" sldId="2147377557"/>
            <ac:spMk id="25" creationId="{BC31B087-B0EA-ACE6-46B0-2A5A0A0E734C}"/>
          </ac:spMkLst>
        </pc:spChg>
        <pc:spChg chg="add mod">
          <ac:chgData name="Karanfil, Fatih" userId="0cc277bf-29b4-42b7-8562-324ba398aeda" providerId="ADAL" clId="{A7DE6677-BB58-43EA-B2DF-A02B9EF26F2D}" dt="2023-11-02T11:11:39.321" v="771" actId="207"/>
          <ac:spMkLst>
            <pc:docMk/>
            <pc:sldMk cId="1561654767" sldId="2147377557"/>
            <ac:spMk id="26" creationId="{D9D15A07-4570-C3AB-9805-5AFC3CE4449A}"/>
          </ac:spMkLst>
        </pc:spChg>
        <pc:spChg chg="add mod">
          <ac:chgData name="Karanfil, Fatih" userId="0cc277bf-29b4-42b7-8562-324ba398aeda" providerId="ADAL" clId="{A7DE6677-BB58-43EA-B2DF-A02B9EF26F2D}" dt="2023-11-02T11:12:36.414" v="784" actId="207"/>
          <ac:spMkLst>
            <pc:docMk/>
            <pc:sldMk cId="1561654767" sldId="2147377557"/>
            <ac:spMk id="27" creationId="{A449E1E7-09BC-72B6-D9C9-A2394BFEDA79}"/>
          </ac:spMkLst>
        </pc:spChg>
        <pc:spChg chg="add mod">
          <ac:chgData name="Karanfil, Fatih" userId="0cc277bf-29b4-42b7-8562-324ba398aeda" providerId="ADAL" clId="{A7DE6677-BB58-43EA-B2DF-A02B9EF26F2D}" dt="2023-11-02T11:12:58.162" v="786" actId="1076"/>
          <ac:spMkLst>
            <pc:docMk/>
            <pc:sldMk cId="1561654767" sldId="2147377557"/>
            <ac:spMk id="28" creationId="{747223A6-F55D-145E-112F-A91CE6D3F478}"/>
          </ac:spMkLst>
        </pc:spChg>
        <pc:picChg chg="del">
          <ac:chgData name="Karanfil, Fatih" userId="0cc277bf-29b4-42b7-8562-324ba398aeda" providerId="ADAL" clId="{A7DE6677-BB58-43EA-B2DF-A02B9EF26F2D}" dt="2023-11-02T07:06:34.608" v="326" actId="478"/>
          <ac:picMkLst>
            <pc:docMk/>
            <pc:sldMk cId="1561654767" sldId="2147377557"/>
            <ac:picMk id="3" creationId="{66A027CC-3E80-427B-612A-79DCDBDC5078}"/>
          </ac:picMkLst>
        </pc:picChg>
        <pc:picChg chg="add mod">
          <ac:chgData name="Karanfil, Fatih" userId="0cc277bf-29b4-42b7-8562-324ba398aeda" providerId="ADAL" clId="{A7DE6677-BB58-43EA-B2DF-A02B9EF26F2D}" dt="2023-11-02T07:42:23.874" v="717" actId="1076"/>
          <ac:picMkLst>
            <pc:docMk/>
            <pc:sldMk cId="1561654767" sldId="2147377557"/>
            <ac:picMk id="19" creationId="{011FA7D8-11E5-A44F-F50E-9F3D81B93EB8}"/>
          </ac:picMkLst>
        </pc:picChg>
        <pc:picChg chg="add mod">
          <ac:chgData name="Karanfil, Fatih" userId="0cc277bf-29b4-42b7-8562-324ba398aeda" providerId="ADAL" clId="{A7DE6677-BB58-43EA-B2DF-A02B9EF26F2D}" dt="2023-11-02T10:36:16.273" v="724" actId="1035"/>
          <ac:picMkLst>
            <pc:docMk/>
            <pc:sldMk cId="1561654767" sldId="2147377557"/>
            <ac:picMk id="21" creationId="{FCEC93B0-E79E-D122-2587-D3FE710AC96C}"/>
          </ac:picMkLst>
        </pc:picChg>
        <pc:picChg chg="add mod">
          <ac:chgData name="Karanfil, Fatih" userId="0cc277bf-29b4-42b7-8562-324ba398aeda" providerId="ADAL" clId="{A7DE6677-BB58-43EA-B2DF-A02B9EF26F2D}" dt="2023-11-02T10:37:22.479" v="730" actId="1076"/>
          <ac:picMkLst>
            <pc:docMk/>
            <pc:sldMk cId="1561654767" sldId="2147377557"/>
            <ac:picMk id="23" creationId="{A81FA612-4648-6980-5FCC-4E5C79C3CD0D}"/>
          </ac:picMkLst>
        </pc:picChg>
        <pc:picChg chg="add mod">
          <ac:chgData name="Karanfil, Fatih" userId="0cc277bf-29b4-42b7-8562-324ba398aeda" providerId="ADAL" clId="{A7DE6677-BB58-43EA-B2DF-A02B9EF26F2D}" dt="2023-11-02T10:37:40.058" v="732" actId="1076"/>
          <ac:picMkLst>
            <pc:docMk/>
            <pc:sldMk cId="1561654767" sldId="2147377557"/>
            <ac:picMk id="24" creationId="{34FCA0CC-B573-901C-DB86-493BE4EA2176}"/>
          </ac:picMkLst>
        </pc:picChg>
      </pc:sldChg>
      <pc:sldChg chg="add del">
        <pc:chgData name="Karanfil, Fatih" userId="0cc277bf-29b4-42b7-8562-324ba398aeda" providerId="ADAL" clId="{A7DE6677-BB58-43EA-B2DF-A02B9EF26F2D}" dt="2023-11-02T06:52:21.843" v="315" actId="47"/>
        <pc:sldMkLst>
          <pc:docMk/>
          <pc:sldMk cId="1792541726" sldId="2147377557"/>
        </pc:sldMkLst>
      </pc:sldChg>
      <pc:sldChg chg="add del">
        <pc:chgData name="Karanfil, Fatih" userId="0cc277bf-29b4-42b7-8562-324ba398aeda" providerId="ADAL" clId="{A7DE6677-BB58-43EA-B2DF-A02B9EF26F2D}" dt="2023-11-02T11:53:24.977" v="1110"/>
        <pc:sldMkLst>
          <pc:docMk/>
          <pc:sldMk cId="1402717250" sldId="2147377558"/>
        </pc:sldMkLst>
      </pc:sldChg>
      <pc:sldChg chg="addSp delSp modSp add mod modAnim">
        <pc:chgData name="Karanfil, Fatih" userId="0cc277bf-29b4-42b7-8562-324ba398aeda" providerId="ADAL" clId="{A7DE6677-BB58-43EA-B2DF-A02B9EF26F2D}" dt="2023-11-05T07:50:55.684" v="2314" actId="1037"/>
        <pc:sldMkLst>
          <pc:docMk/>
          <pc:sldMk cId="3968096084" sldId="2147377558"/>
        </pc:sldMkLst>
        <pc:spChg chg="add del mod">
          <ac:chgData name="Karanfil, Fatih" userId="0cc277bf-29b4-42b7-8562-324ba398aeda" providerId="ADAL" clId="{A7DE6677-BB58-43EA-B2DF-A02B9EF26F2D}" dt="2023-11-05T06:32:52.565" v="1225" actId="12084"/>
          <ac:spMkLst>
            <pc:docMk/>
            <pc:sldMk cId="3968096084" sldId="2147377558"/>
            <ac:spMk id="2" creationId="{934BED0C-783D-D868-D3A6-DA3284FF1782}"/>
          </ac:spMkLst>
        </pc:spChg>
        <pc:spChg chg="add mod">
          <ac:chgData name="Karanfil, Fatih" userId="0cc277bf-29b4-42b7-8562-324ba398aeda" providerId="ADAL" clId="{A7DE6677-BB58-43EA-B2DF-A02B9EF26F2D}" dt="2023-11-05T07:50:09.675" v="2298" actId="1036"/>
          <ac:spMkLst>
            <pc:docMk/>
            <pc:sldMk cId="3968096084" sldId="2147377558"/>
            <ac:spMk id="4" creationId="{B45E6964-6F3C-7D0B-CA04-8A9C5703DD6A}"/>
          </ac:spMkLst>
        </pc:spChg>
        <pc:spChg chg="add mod">
          <ac:chgData name="Karanfil, Fatih" userId="0cc277bf-29b4-42b7-8562-324ba398aeda" providerId="ADAL" clId="{A7DE6677-BB58-43EA-B2DF-A02B9EF26F2D}" dt="2023-11-05T07:50:24.125" v="2300" actId="1076"/>
          <ac:spMkLst>
            <pc:docMk/>
            <pc:sldMk cId="3968096084" sldId="2147377558"/>
            <ac:spMk id="9" creationId="{A5401C37-4A78-17F9-7D20-760FFCC79859}"/>
          </ac:spMkLst>
        </pc:spChg>
        <pc:spChg chg="add mod">
          <ac:chgData name="Karanfil, Fatih" userId="0cc277bf-29b4-42b7-8562-324ba398aeda" providerId="ADAL" clId="{A7DE6677-BB58-43EA-B2DF-A02B9EF26F2D}" dt="2023-11-05T07:50:09.675" v="2298" actId="1036"/>
          <ac:spMkLst>
            <pc:docMk/>
            <pc:sldMk cId="3968096084" sldId="2147377558"/>
            <ac:spMk id="13" creationId="{678D14A6-F1E2-ADF9-D6A2-83E1D9921C8D}"/>
          </ac:spMkLst>
        </pc:spChg>
        <pc:spChg chg="add mod">
          <ac:chgData name="Karanfil, Fatih" userId="0cc277bf-29b4-42b7-8562-324ba398aeda" providerId="ADAL" clId="{A7DE6677-BB58-43EA-B2DF-A02B9EF26F2D}" dt="2023-11-05T07:50:09.675" v="2298" actId="1036"/>
          <ac:spMkLst>
            <pc:docMk/>
            <pc:sldMk cId="3968096084" sldId="2147377558"/>
            <ac:spMk id="15" creationId="{70D0921D-77DE-8301-E229-4AE59700223E}"/>
          </ac:spMkLst>
        </pc:spChg>
        <pc:spChg chg="add mod">
          <ac:chgData name="Karanfil, Fatih" userId="0cc277bf-29b4-42b7-8562-324ba398aeda" providerId="ADAL" clId="{A7DE6677-BB58-43EA-B2DF-A02B9EF26F2D}" dt="2023-11-05T07:50:09.675" v="2298" actId="1036"/>
          <ac:spMkLst>
            <pc:docMk/>
            <pc:sldMk cId="3968096084" sldId="2147377558"/>
            <ac:spMk id="17" creationId="{6B674BB4-0523-C0E6-C78A-047C7AEE3181}"/>
          </ac:spMkLst>
        </pc:spChg>
        <pc:spChg chg="add mod">
          <ac:chgData name="Karanfil, Fatih" userId="0cc277bf-29b4-42b7-8562-324ba398aeda" providerId="ADAL" clId="{A7DE6677-BB58-43EA-B2DF-A02B9EF26F2D}" dt="2023-11-05T07:50:09.675" v="2298" actId="1036"/>
          <ac:spMkLst>
            <pc:docMk/>
            <pc:sldMk cId="3968096084" sldId="2147377558"/>
            <ac:spMk id="19" creationId="{5F911BD9-A994-6068-C311-45992A59A500}"/>
          </ac:spMkLst>
        </pc:spChg>
        <pc:spChg chg="add mod">
          <ac:chgData name="Karanfil, Fatih" userId="0cc277bf-29b4-42b7-8562-324ba398aeda" providerId="ADAL" clId="{A7DE6677-BB58-43EA-B2DF-A02B9EF26F2D}" dt="2023-11-05T07:50:09.675" v="2298" actId="1036"/>
          <ac:spMkLst>
            <pc:docMk/>
            <pc:sldMk cId="3968096084" sldId="2147377558"/>
            <ac:spMk id="21" creationId="{451A5191-4DB5-85CC-0E33-1827093F3E29}"/>
          </ac:spMkLst>
        </pc:spChg>
        <pc:spChg chg="add mod">
          <ac:chgData name="Karanfil, Fatih" userId="0cc277bf-29b4-42b7-8562-324ba398aeda" providerId="ADAL" clId="{A7DE6677-BB58-43EA-B2DF-A02B9EF26F2D}" dt="2023-11-05T07:50:09.675" v="2298" actId="1036"/>
          <ac:spMkLst>
            <pc:docMk/>
            <pc:sldMk cId="3968096084" sldId="2147377558"/>
            <ac:spMk id="23" creationId="{BE7AC54D-CEA0-F284-7916-6FDA5EF40138}"/>
          </ac:spMkLst>
        </pc:spChg>
        <pc:spChg chg="add mod ord">
          <ac:chgData name="Karanfil, Fatih" userId="0cc277bf-29b4-42b7-8562-324ba398aeda" providerId="ADAL" clId="{A7DE6677-BB58-43EA-B2DF-A02B9EF26F2D}" dt="2023-11-05T07:50:55.684" v="2314" actId="1037"/>
          <ac:spMkLst>
            <pc:docMk/>
            <pc:sldMk cId="3968096084" sldId="2147377558"/>
            <ac:spMk id="24" creationId="{8344F609-40A1-6B84-0EAF-1FFC8EA42F9E}"/>
          </ac:spMkLst>
        </pc:spChg>
        <pc:graphicFrameChg chg="add del mod">
          <ac:chgData name="Karanfil, Fatih" userId="0cc277bf-29b4-42b7-8562-324ba398aeda" providerId="ADAL" clId="{A7DE6677-BB58-43EA-B2DF-A02B9EF26F2D}" dt="2023-11-05T06:32:18.229" v="1224" actId="12084"/>
          <ac:graphicFrameMkLst>
            <pc:docMk/>
            <pc:sldMk cId="3968096084" sldId="2147377558"/>
            <ac:graphicFrameMk id="10" creationId="{D489F2E4-572A-A3BA-6D95-C07A2D3665C6}"/>
          </ac:graphicFrameMkLst>
        </pc:graphicFrameChg>
        <pc:graphicFrameChg chg="add del mod modGraphic">
          <ac:chgData name="Karanfil, Fatih" userId="0cc277bf-29b4-42b7-8562-324ba398aeda" providerId="ADAL" clId="{A7DE6677-BB58-43EA-B2DF-A02B9EF26F2D}" dt="2023-11-05T06:36:31.136" v="1256" actId="478"/>
          <ac:graphicFrameMkLst>
            <pc:docMk/>
            <pc:sldMk cId="3968096084" sldId="2147377558"/>
            <ac:graphicFrameMk id="11" creationId="{0AA741E2-DFC3-0394-0919-0FC7E8E528C2}"/>
          </ac:graphicFrameMkLst>
        </pc:graphicFrameChg>
        <pc:cxnChg chg="mod">
          <ac:chgData name="Karanfil, Fatih" userId="0cc277bf-29b4-42b7-8562-324ba398aeda" providerId="ADAL" clId="{A7DE6677-BB58-43EA-B2DF-A02B9EF26F2D}" dt="2023-11-05T06:42:14.077" v="1329" actId="1076"/>
          <ac:cxnSpMkLst>
            <pc:docMk/>
            <pc:sldMk cId="3968096084" sldId="2147377558"/>
            <ac:cxnSpMk id="6" creationId="{C51FD9DA-198E-9CB2-345D-951617A3D39E}"/>
          </ac:cxnSpMkLst>
        </pc:cxnChg>
      </pc:sldChg>
      <pc:sldChg chg="add del">
        <pc:chgData name="Karanfil, Fatih" userId="0cc277bf-29b4-42b7-8562-324ba398aeda" providerId="ADAL" clId="{A7DE6677-BB58-43EA-B2DF-A02B9EF26F2D}" dt="2023-11-02T11:53:20.738" v="1106"/>
        <pc:sldMkLst>
          <pc:docMk/>
          <pc:sldMk cId="2342744696" sldId="2147377559"/>
        </pc:sldMkLst>
      </pc:sldChg>
      <pc:sldChg chg="add del">
        <pc:chgData name="Karanfil, Fatih" userId="0cc277bf-29b4-42b7-8562-324ba398aeda" providerId="ADAL" clId="{A7DE6677-BB58-43EA-B2DF-A02B9EF26F2D}" dt="2023-11-05T06:46:21.430" v="1388" actId="47"/>
        <pc:sldMkLst>
          <pc:docMk/>
          <pc:sldMk cId="2431698758" sldId="2147377559"/>
        </pc:sldMkLst>
      </pc:sldChg>
      <pc:sldMasterChg chg="delSp mod">
        <pc:chgData name="Karanfil, Fatih" userId="0cc277bf-29b4-42b7-8562-324ba398aeda" providerId="ADAL" clId="{A7DE6677-BB58-43EA-B2DF-A02B9EF26F2D}" dt="2023-11-05T06:28:11.269" v="1204" actId="478"/>
        <pc:sldMasterMkLst>
          <pc:docMk/>
          <pc:sldMasterMk cId="3596475204" sldId="2147483668"/>
        </pc:sldMasterMkLst>
        <pc:spChg chg="del">
          <ac:chgData name="Karanfil, Fatih" userId="0cc277bf-29b4-42b7-8562-324ba398aeda" providerId="ADAL" clId="{A7DE6677-BB58-43EA-B2DF-A02B9EF26F2D}" dt="2023-11-05T06:28:11.269" v="1204" actId="478"/>
          <ac:spMkLst>
            <pc:docMk/>
            <pc:sldMasterMk cId="3596475204" sldId="2147483668"/>
            <ac:spMk id="7" creationId="{27DFBF0C-35EF-93B1-9C4F-F4921B4D1E58}"/>
          </ac:spMkLst>
        </pc:spChg>
      </pc:sldMaster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7969E95-8A41-45A7-A46C-53BE883D9AD9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00D661F-D017-498C-9E49-C0B8D61B41D2}">
      <dgm:prSet phldrT="[Text]" custT="1"/>
      <dgm:spPr/>
      <dgm:t>
        <a:bodyPr/>
        <a:lstStyle/>
        <a:p>
          <a:pPr>
            <a:buClr>
              <a:schemeClr val="accent2"/>
            </a:buClr>
            <a:buFont typeface="Wingdings" panose="05000000000000000000" pitchFamily="2" charset="2"/>
            <a:buChar char="§"/>
          </a:pPr>
          <a:r>
            <a:rPr lang="en-US" sz="1500" dirty="0">
              <a:latin typeface="Cambria" panose="02040503050406030204" pitchFamily="18" charset="0"/>
              <a:ea typeface="Cambria" panose="02040503050406030204" pitchFamily="18" charset="0"/>
            </a:rPr>
            <a:t>Are emerging and developing oil-exporting economies procyclical?</a:t>
          </a:r>
        </a:p>
      </dgm:t>
    </dgm:pt>
    <dgm:pt modelId="{27B3C793-6C4F-4B4F-B4FC-AF02C471DDE6}" type="parTrans" cxnId="{B3847210-7859-46C6-8FE8-0D74A8C4AC12}">
      <dgm:prSet/>
      <dgm:spPr/>
      <dgm:t>
        <a:bodyPr/>
        <a:lstStyle/>
        <a:p>
          <a:endParaRPr lang="en-US" sz="1500"/>
        </a:p>
      </dgm:t>
    </dgm:pt>
    <dgm:pt modelId="{A39728E8-F62B-4E1E-B14F-7959708F5E90}" type="sibTrans" cxnId="{B3847210-7859-46C6-8FE8-0D74A8C4AC12}">
      <dgm:prSet/>
      <dgm:spPr/>
      <dgm:t>
        <a:bodyPr/>
        <a:lstStyle/>
        <a:p>
          <a:endParaRPr lang="en-US" sz="1500"/>
        </a:p>
      </dgm:t>
    </dgm:pt>
    <dgm:pt modelId="{D36451D2-2D1B-46CD-A01E-B8A2A2B32EFA}">
      <dgm:prSet phldrT="[Text]" custT="1"/>
      <dgm:spPr/>
      <dgm:t>
        <a:bodyPr/>
        <a:lstStyle/>
        <a:p>
          <a:pPr>
            <a:buClr>
              <a:schemeClr val="accent2"/>
            </a:buClr>
            <a:buFont typeface="Wingdings" panose="05000000000000000000" pitchFamily="2" charset="2"/>
            <a:buChar char="§"/>
          </a:pPr>
          <a:r>
            <a:rPr lang="en-US" sz="1500" dirty="0">
              <a:latin typeface="Cambria" panose="02040503050406030204" pitchFamily="18" charset="0"/>
              <a:cs typeface="Arial" panose="020B0604020202020204" pitchFamily="34" charset="0"/>
            </a:rPr>
            <a:t>What factors influence procyclicality?</a:t>
          </a:r>
          <a:r>
            <a:rPr lang="en-US" sz="1500" dirty="0">
              <a:latin typeface="Cambria" panose="02040503050406030204" pitchFamily="18" charset="0"/>
              <a:ea typeface="Calibri" panose="020F0502020204030204" pitchFamily="34" charset="0"/>
              <a:cs typeface="Arial" panose="020B0604020202020204" pitchFamily="34" charset="0"/>
            </a:rPr>
            <a:t> </a:t>
          </a:r>
          <a:endParaRPr lang="en-US" sz="1500" dirty="0"/>
        </a:p>
      </dgm:t>
    </dgm:pt>
    <dgm:pt modelId="{1706E7AC-2042-405B-8C91-A945519B225B}" type="parTrans" cxnId="{781901FD-CBA6-4D83-9621-466D5F98810D}">
      <dgm:prSet/>
      <dgm:spPr/>
      <dgm:t>
        <a:bodyPr/>
        <a:lstStyle/>
        <a:p>
          <a:endParaRPr lang="en-US" sz="1500"/>
        </a:p>
      </dgm:t>
    </dgm:pt>
    <dgm:pt modelId="{027F39ED-0875-4451-B597-EB7C63D58512}" type="sibTrans" cxnId="{781901FD-CBA6-4D83-9621-466D5F98810D}">
      <dgm:prSet/>
      <dgm:spPr/>
      <dgm:t>
        <a:bodyPr/>
        <a:lstStyle/>
        <a:p>
          <a:endParaRPr lang="en-US" sz="1500"/>
        </a:p>
      </dgm:t>
    </dgm:pt>
    <dgm:pt modelId="{BAEE44D3-426C-4237-9977-86FFD56DB628}">
      <dgm:prSet phldrT="[Text]" custT="1"/>
      <dgm:spPr/>
      <dgm:t>
        <a:bodyPr/>
        <a:lstStyle/>
        <a:p>
          <a:pPr>
            <a:buClr>
              <a:schemeClr val="accent2"/>
            </a:buClr>
            <a:buFont typeface="Wingdings" panose="05000000000000000000" pitchFamily="2" charset="2"/>
            <a:buChar char="§"/>
          </a:pPr>
          <a:r>
            <a:rPr lang="en-US" sz="1500" dirty="0">
              <a:latin typeface="Cambria" panose="02040503050406030204" pitchFamily="18" charset="0"/>
              <a:cs typeface="Arial" panose="020B0604020202020204" pitchFamily="34" charset="0"/>
            </a:rPr>
            <a:t>What factors influence the fiscal response in specific parts of the cycle?</a:t>
          </a:r>
          <a:endParaRPr lang="en-US" sz="1500" dirty="0"/>
        </a:p>
      </dgm:t>
    </dgm:pt>
    <dgm:pt modelId="{DB9C510C-E565-481C-8028-0FC3026E6953}" type="parTrans" cxnId="{226836A2-7636-457B-8D3F-9AA89D5AACD1}">
      <dgm:prSet/>
      <dgm:spPr/>
      <dgm:t>
        <a:bodyPr/>
        <a:lstStyle/>
        <a:p>
          <a:endParaRPr lang="en-US" sz="1500"/>
        </a:p>
      </dgm:t>
    </dgm:pt>
    <dgm:pt modelId="{21C87090-2752-4C9C-88C6-868139A65B8D}" type="sibTrans" cxnId="{226836A2-7636-457B-8D3F-9AA89D5AACD1}">
      <dgm:prSet/>
      <dgm:spPr/>
      <dgm:t>
        <a:bodyPr/>
        <a:lstStyle/>
        <a:p>
          <a:endParaRPr lang="en-US" sz="1500"/>
        </a:p>
      </dgm:t>
    </dgm:pt>
    <dgm:pt modelId="{93FFF5C0-3C20-4A31-9B88-2227725FE9C7}" type="pres">
      <dgm:prSet presAssocID="{F7969E95-8A41-45A7-A46C-53BE883D9AD9}" presName="linear" presStyleCnt="0">
        <dgm:presLayoutVars>
          <dgm:dir/>
          <dgm:animLvl val="lvl"/>
          <dgm:resizeHandles val="exact"/>
        </dgm:presLayoutVars>
      </dgm:prSet>
      <dgm:spPr/>
    </dgm:pt>
    <dgm:pt modelId="{85B81628-B2C6-435D-BAFF-16631CE3E333}" type="pres">
      <dgm:prSet presAssocID="{600D661F-D017-498C-9E49-C0B8D61B41D2}" presName="parentLin" presStyleCnt="0"/>
      <dgm:spPr/>
    </dgm:pt>
    <dgm:pt modelId="{328A37B6-B058-4C71-AAB4-D3DFA02D4927}" type="pres">
      <dgm:prSet presAssocID="{600D661F-D017-498C-9E49-C0B8D61B41D2}" presName="parentLeftMargin" presStyleLbl="node1" presStyleIdx="0" presStyleCnt="3"/>
      <dgm:spPr/>
    </dgm:pt>
    <dgm:pt modelId="{7D9DA708-BD77-4906-902E-765B455CB3BE}" type="pres">
      <dgm:prSet presAssocID="{600D661F-D017-498C-9E49-C0B8D61B41D2}" presName="parentText" presStyleLbl="node1" presStyleIdx="0" presStyleCnt="3" custScaleX="133886">
        <dgm:presLayoutVars>
          <dgm:chMax val="0"/>
          <dgm:bulletEnabled val="1"/>
        </dgm:presLayoutVars>
      </dgm:prSet>
      <dgm:spPr/>
    </dgm:pt>
    <dgm:pt modelId="{F83F7FAB-86AC-4FA7-BE30-0D0455578FE0}" type="pres">
      <dgm:prSet presAssocID="{600D661F-D017-498C-9E49-C0B8D61B41D2}" presName="negativeSpace" presStyleCnt="0"/>
      <dgm:spPr/>
    </dgm:pt>
    <dgm:pt modelId="{27C55B06-4A97-48E2-892F-300AD118505E}" type="pres">
      <dgm:prSet presAssocID="{600D661F-D017-498C-9E49-C0B8D61B41D2}" presName="childText" presStyleLbl="conFgAcc1" presStyleIdx="0" presStyleCnt="3">
        <dgm:presLayoutVars>
          <dgm:bulletEnabled val="1"/>
        </dgm:presLayoutVars>
      </dgm:prSet>
      <dgm:spPr/>
    </dgm:pt>
    <dgm:pt modelId="{50C20F48-566D-495D-B0DD-4FED6318CB40}" type="pres">
      <dgm:prSet presAssocID="{A39728E8-F62B-4E1E-B14F-7959708F5E90}" presName="spaceBetweenRectangles" presStyleCnt="0"/>
      <dgm:spPr/>
    </dgm:pt>
    <dgm:pt modelId="{8EF144CD-BACA-4C5D-8FBB-F29D9462D4A5}" type="pres">
      <dgm:prSet presAssocID="{D36451D2-2D1B-46CD-A01E-B8A2A2B32EFA}" presName="parentLin" presStyleCnt="0"/>
      <dgm:spPr/>
    </dgm:pt>
    <dgm:pt modelId="{9EF4EC8B-AA57-4820-BDC1-6AE51ECAF6AD}" type="pres">
      <dgm:prSet presAssocID="{D36451D2-2D1B-46CD-A01E-B8A2A2B32EFA}" presName="parentLeftMargin" presStyleLbl="node1" presStyleIdx="0" presStyleCnt="3"/>
      <dgm:spPr/>
    </dgm:pt>
    <dgm:pt modelId="{708A4EE3-91D8-4EF3-96AF-1F03768FC20A}" type="pres">
      <dgm:prSet presAssocID="{D36451D2-2D1B-46CD-A01E-B8A2A2B32EFA}" presName="parentText" presStyleLbl="node1" presStyleIdx="1" presStyleCnt="3" custScaleX="134064">
        <dgm:presLayoutVars>
          <dgm:chMax val="0"/>
          <dgm:bulletEnabled val="1"/>
        </dgm:presLayoutVars>
      </dgm:prSet>
      <dgm:spPr/>
    </dgm:pt>
    <dgm:pt modelId="{832D397B-925D-435F-95CA-5123D2F5B81A}" type="pres">
      <dgm:prSet presAssocID="{D36451D2-2D1B-46CD-A01E-B8A2A2B32EFA}" presName="negativeSpace" presStyleCnt="0"/>
      <dgm:spPr/>
    </dgm:pt>
    <dgm:pt modelId="{7BB31117-F62B-4829-951A-144D9D1D2919}" type="pres">
      <dgm:prSet presAssocID="{D36451D2-2D1B-46CD-A01E-B8A2A2B32EFA}" presName="childText" presStyleLbl="conFgAcc1" presStyleIdx="1" presStyleCnt="3">
        <dgm:presLayoutVars>
          <dgm:bulletEnabled val="1"/>
        </dgm:presLayoutVars>
      </dgm:prSet>
      <dgm:spPr/>
    </dgm:pt>
    <dgm:pt modelId="{B5515F38-F666-462D-980B-61E445E324CF}" type="pres">
      <dgm:prSet presAssocID="{027F39ED-0875-4451-B597-EB7C63D58512}" presName="spaceBetweenRectangles" presStyleCnt="0"/>
      <dgm:spPr/>
    </dgm:pt>
    <dgm:pt modelId="{8B2B5AA2-FD0C-46BA-861B-CE12A3EEFF0E}" type="pres">
      <dgm:prSet presAssocID="{BAEE44D3-426C-4237-9977-86FFD56DB628}" presName="parentLin" presStyleCnt="0"/>
      <dgm:spPr/>
    </dgm:pt>
    <dgm:pt modelId="{FBBDB46D-D080-48A5-9EFE-2B92B9199491}" type="pres">
      <dgm:prSet presAssocID="{BAEE44D3-426C-4237-9977-86FFD56DB628}" presName="parentLeftMargin" presStyleLbl="node1" presStyleIdx="1" presStyleCnt="3"/>
      <dgm:spPr/>
    </dgm:pt>
    <dgm:pt modelId="{55321774-AEAE-48C0-AD7A-5AF1CAD2A7E4}" type="pres">
      <dgm:prSet presAssocID="{BAEE44D3-426C-4237-9977-86FFD56DB628}" presName="parentText" presStyleLbl="node1" presStyleIdx="2" presStyleCnt="3" custScaleX="134155">
        <dgm:presLayoutVars>
          <dgm:chMax val="0"/>
          <dgm:bulletEnabled val="1"/>
        </dgm:presLayoutVars>
      </dgm:prSet>
      <dgm:spPr/>
    </dgm:pt>
    <dgm:pt modelId="{F14333D1-0D7B-448F-A7BF-137F4303615D}" type="pres">
      <dgm:prSet presAssocID="{BAEE44D3-426C-4237-9977-86FFD56DB628}" presName="negativeSpace" presStyleCnt="0"/>
      <dgm:spPr/>
    </dgm:pt>
    <dgm:pt modelId="{80DC8CE5-9436-4DDB-BE78-A6992A969238}" type="pres">
      <dgm:prSet presAssocID="{BAEE44D3-426C-4237-9977-86FFD56DB628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B3847210-7859-46C6-8FE8-0D74A8C4AC12}" srcId="{F7969E95-8A41-45A7-A46C-53BE883D9AD9}" destId="{600D661F-D017-498C-9E49-C0B8D61B41D2}" srcOrd="0" destOrd="0" parTransId="{27B3C793-6C4F-4B4F-B4FC-AF02C471DDE6}" sibTransId="{A39728E8-F62B-4E1E-B14F-7959708F5E90}"/>
    <dgm:cxn modelId="{F3B62E15-1458-4C33-B7F7-3AF69EDC8731}" type="presOf" srcId="{BAEE44D3-426C-4237-9977-86FFD56DB628}" destId="{FBBDB46D-D080-48A5-9EFE-2B92B9199491}" srcOrd="0" destOrd="0" presId="urn:microsoft.com/office/officeart/2005/8/layout/list1"/>
    <dgm:cxn modelId="{25B31464-249B-4914-82B3-AE6E6556A79C}" type="presOf" srcId="{600D661F-D017-498C-9E49-C0B8D61B41D2}" destId="{7D9DA708-BD77-4906-902E-765B455CB3BE}" srcOrd="1" destOrd="0" presId="urn:microsoft.com/office/officeart/2005/8/layout/list1"/>
    <dgm:cxn modelId="{64DAC54E-086E-426E-93CC-D6B839937876}" type="presOf" srcId="{D36451D2-2D1B-46CD-A01E-B8A2A2B32EFA}" destId="{708A4EE3-91D8-4EF3-96AF-1F03768FC20A}" srcOrd="1" destOrd="0" presId="urn:microsoft.com/office/officeart/2005/8/layout/list1"/>
    <dgm:cxn modelId="{AAD0ED7C-243B-43D3-ABDD-1FC23AA62603}" type="presOf" srcId="{D36451D2-2D1B-46CD-A01E-B8A2A2B32EFA}" destId="{9EF4EC8B-AA57-4820-BDC1-6AE51ECAF6AD}" srcOrd="0" destOrd="0" presId="urn:microsoft.com/office/officeart/2005/8/layout/list1"/>
    <dgm:cxn modelId="{226836A2-7636-457B-8D3F-9AA89D5AACD1}" srcId="{F7969E95-8A41-45A7-A46C-53BE883D9AD9}" destId="{BAEE44D3-426C-4237-9977-86FFD56DB628}" srcOrd="2" destOrd="0" parTransId="{DB9C510C-E565-481C-8028-0FC3026E6953}" sibTransId="{21C87090-2752-4C9C-88C6-868139A65B8D}"/>
    <dgm:cxn modelId="{92DB9CB3-F080-4697-A705-BB35E6E29EAD}" type="presOf" srcId="{BAEE44D3-426C-4237-9977-86FFD56DB628}" destId="{55321774-AEAE-48C0-AD7A-5AF1CAD2A7E4}" srcOrd="1" destOrd="0" presId="urn:microsoft.com/office/officeart/2005/8/layout/list1"/>
    <dgm:cxn modelId="{32D043B4-3D4D-439C-88B8-347010CA48BC}" type="presOf" srcId="{600D661F-D017-498C-9E49-C0B8D61B41D2}" destId="{328A37B6-B058-4C71-AAB4-D3DFA02D4927}" srcOrd="0" destOrd="0" presId="urn:microsoft.com/office/officeart/2005/8/layout/list1"/>
    <dgm:cxn modelId="{CD5DA2F0-58FB-41A3-8046-26512F5F1CFE}" type="presOf" srcId="{F7969E95-8A41-45A7-A46C-53BE883D9AD9}" destId="{93FFF5C0-3C20-4A31-9B88-2227725FE9C7}" srcOrd="0" destOrd="0" presId="urn:microsoft.com/office/officeart/2005/8/layout/list1"/>
    <dgm:cxn modelId="{781901FD-CBA6-4D83-9621-466D5F98810D}" srcId="{F7969E95-8A41-45A7-A46C-53BE883D9AD9}" destId="{D36451D2-2D1B-46CD-A01E-B8A2A2B32EFA}" srcOrd="1" destOrd="0" parTransId="{1706E7AC-2042-405B-8C91-A945519B225B}" sibTransId="{027F39ED-0875-4451-B597-EB7C63D58512}"/>
    <dgm:cxn modelId="{0EA10556-0A9A-456A-8740-9815AE5B58DF}" type="presParOf" srcId="{93FFF5C0-3C20-4A31-9B88-2227725FE9C7}" destId="{85B81628-B2C6-435D-BAFF-16631CE3E333}" srcOrd="0" destOrd="0" presId="urn:microsoft.com/office/officeart/2005/8/layout/list1"/>
    <dgm:cxn modelId="{1DFA24FB-5FA7-4CD1-B412-81A0C877C960}" type="presParOf" srcId="{85B81628-B2C6-435D-BAFF-16631CE3E333}" destId="{328A37B6-B058-4C71-AAB4-D3DFA02D4927}" srcOrd="0" destOrd="0" presId="urn:microsoft.com/office/officeart/2005/8/layout/list1"/>
    <dgm:cxn modelId="{02690DFD-B248-4E54-B272-4A842E3AD46A}" type="presParOf" srcId="{85B81628-B2C6-435D-BAFF-16631CE3E333}" destId="{7D9DA708-BD77-4906-902E-765B455CB3BE}" srcOrd="1" destOrd="0" presId="urn:microsoft.com/office/officeart/2005/8/layout/list1"/>
    <dgm:cxn modelId="{040455D7-C297-4943-A295-861A286723D6}" type="presParOf" srcId="{93FFF5C0-3C20-4A31-9B88-2227725FE9C7}" destId="{F83F7FAB-86AC-4FA7-BE30-0D0455578FE0}" srcOrd="1" destOrd="0" presId="urn:microsoft.com/office/officeart/2005/8/layout/list1"/>
    <dgm:cxn modelId="{321C3057-A59C-4410-B24F-891449B937FB}" type="presParOf" srcId="{93FFF5C0-3C20-4A31-9B88-2227725FE9C7}" destId="{27C55B06-4A97-48E2-892F-300AD118505E}" srcOrd="2" destOrd="0" presId="urn:microsoft.com/office/officeart/2005/8/layout/list1"/>
    <dgm:cxn modelId="{78C83CE2-9955-4DE4-A5EC-FD4531DF17B4}" type="presParOf" srcId="{93FFF5C0-3C20-4A31-9B88-2227725FE9C7}" destId="{50C20F48-566D-495D-B0DD-4FED6318CB40}" srcOrd="3" destOrd="0" presId="urn:microsoft.com/office/officeart/2005/8/layout/list1"/>
    <dgm:cxn modelId="{E8A57A9D-5200-4A7F-B938-82B802F3B345}" type="presParOf" srcId="{93FFF5C0-3C20-4A31-9B88-2227725FE9C7}" destId="{8EF144CD-BACA-4C5D-8FBB-F29D9462D4A5}" srcOrd="4" destOrd="0" presId="urn:microsoft.com/office/officeart/2005/8/layout/list1"/>
    <dgm:cxn modelId="{E22F5366-DBB5-4797-9A3F-26FE5A51828C}" type="presParOf" srcId="{8EF144CD-BACA-4C5D-8FBB-F29D9462D4A5}" destId="{9EF4EC8B-AA57-4820-BDC1-6AE51ECAF6AD}" srcOrd="0" destOrd="0" presId="urn:microsoft.com/office/officeart/2005/8/layout/list1"/>
    <dgm:cxn modelId="{087EF263-D6AA-4F3D-94A2-02CA444F16AC}" type="presParOf" srcId="{8EF144CD-BACA-4C5D-8FBB-F29D9462D4A5}" destId="{708A4EE3-91D8-4EF3-96AF-1F03768FC20A}" srcOrd="1" destOrd="0" presId="urn:microsoft.com/office/officeart/2005/8/layout/list1"/>
    <dgm:cxn modelId="{0FA175AE-CCBA-4402-B1F6-823EF3E4F812}" type="presParOf" srcId="{93FFF5C0-3C20-4A31-9B88-2227725FE9C7}" destId="{832D397B-925D-435F-95CA-5123D2F5B81A}" srcOrd="5" destOrd="0" presId="urn:microsoft.com/office/officeart/2005/8/layout/list1"/>
    <dgm:cxn modelId="{AAB7A2FC-A46C-4EF3-9C87-F18EAD4CC888}" type="presParOf" srcId="{93FFF5C0-3C20-4A31-9B88-2227725FE9C7}" destId="{7BB31117-F62B-4829-951A-144D9D1D2919}" srcOrd="6" destOrd="0" presId="urn:microsoft.com/office/officeart/2005/8/layout/list1"/>
    <dgm:cxn modelId="{0B7AE98A-F58D-482A-A317-A957AA7E9AFD}" type="presParOf" srcId="{93FFF5C0-3C20-4A31-9B88-2227725FE9C7}" destId="{B5515F38-F666-462D-980B-61E445E324CF}" srcOrd="7" destOrd="0" presId="urn:microsoft.com/office/officeart/2005/8/layout/list1"/>
    <dgm:cxn modelId="{02AFEBE3-5D18-425A-AA97-9C2D51262604}" type="presParOf" srcId="{93FFF5C0-3C20-4A31-9B88-2227725FE9C7}" destId="{8B2B5AA2-FD0C-46BA-861B-CE12A3EEFF0E}" srcOrd="8" destOrd="0" presId="urn:microsoft.com/office/officeart/2005/8/layout/list1"/>
    <dgm:cxn modelId="{0B891CCE-B342-4BEC-B005-AA1BDEC8D7B8}" type="presParOf" srcId="{8B2B5AA2-FD0C-46BA-861B-CE12A3EEFF0E}" destId="{FBBDB46D-D080-48A5-9EFE-2B92B9199491}" srcOrd="0" destOrd="0" presId="urn:microsoft.com/office/officeart/2005/8/layout/list1"/>
    <dgm:cxn modelId="{05A90DEC-5F87-4072-A285-03D300CAFCFC}" type="presParOf" srcId="{8B2B5AA2-FD0C-46BA-861B-CE12A3EEFF0E}" destId="{55321774-AEAE-48C0-AD7A-5AF1CAD2A7E4}" srcOrd="1" destOrd="0" presId="urn:microsoft.com/office/officeart/2005/8/layout/list1"/>
    <dgm:cxn modelId="{FCAD01E4-4EE3-4743-9C0C-245E54B5037A}" type="presParOf" srcId="{93FFF5C0-3C20-4A31-9B88-2227725FE9C7}" destId="{F14333D1-0D7B-448F-A7BF-137F4303615D}" srcOrd="9" destOrd="0" presId="urn:microsoft.com/office/officeart/2005/8/layout/list1"/>
    <dgm:cxn modelId="{0CA437C6-E9E0-4E7D-BD04-EA6457940995}" type="presParOf" srcId="{93FFF5C0-3C20-4A31-9B88-2227725FE9C7}" destId="{80DC8CE5-9436-4DDB-BE78-A6992A969238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7C55B06-4A97-48E2-892F-300AD118505E}">
      <dsp:nvSpPr>
        <dsp:cNvPr id="0" name=""/>
        <dsp:cNvSpPr/>
      </dsp:nvSpPr>
      <dsp:spPr>
        <a:xfrm>
          <a:off x="0" y="155700"/>
          <a:ext cx="6544543" cy="176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D9DA708-BD77-4906-902E-765B455CB3BE}">
      <dsp:nvSpPr>
        <dsp:cNvPr id="0" name=""/>
        <dsp:cNvSpPr/>
      </dsp:nvSpPr>
      <dsp:spPr>
        <a:xfrm>
          <a:off x="326907" y="52380"/>
          <a:ext cx="6127568" cy="20664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3158" tIns="0" rIns="173158" bIns="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schemeClr val="accent2"/>
            </a:buClr>
            <a:buFont typeface="Wingdings" panose="05000000000000000000" pitchFamily="2" charset="2"/>
            <a:buNone/>
          </a:pPr>
          <a:r>
            <a:rPr lang="en-US" sz="1500" kern="1200" dirty="0">
              <a:latin typeface="Cambria" panose="02040503050406030204" pitchFamily="18" charset="0"/>
              <a:ea typeface="Cambria" panose="02040503050406030204" pitchFamily="18" charset="0"/>
            </a:rPr>
            <a:t>Are emerging and developing oil-exporting economies procyclical?</a:t>
          </a:r>
        </a:p>
      </dsp:txBody>
      <dsp:txXfrm>
        <a:off x="336994" y="62467"/>
        <a:ext cx="6107394" cy="186466"/>
      </dsp:txXfrm>
    </dsp:sp>
    <dsp:sp modelId="{7BB31117-F62B-4829-951A-144D9D1D2919}">
      <dsp:nvSpPr>
        <dsp:cNvPr id="0" name=""/>
        <dsp:cNvSpPr/>
      </dsp:nvSpPr>
      <dsp:spPr>
        <a:xfrm>
          <a:off x="0" y="473220"/>
          <a:ext cx="6544543" cy="176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08A4EE3-91D8-4EF3-96AF-1F03768FC20A}">
      <dsp:nvSpPr>
        <dsp:cNvPr id="0" name=""/>
        <dsp:cNvSpPr/>
      </dsp:nvSpPr>
      <dsp:spPr>
        <a:xfrm>
          <a:off x="326907" y="369900"/>
          <a:ext cx="6135715" cy="20664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3158" tIns="0" rIns="173158" bIns="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schemeClr val="accent2"/>
            </a:buClr>
            <a:buFont typeface="Wingdings" panose="05000000000000000000" pitchFamily="2" charset="2"/>
            <a:buNone/>
          </a:pPr>
          <a:r>
            <a:rPr lang="en-US" sz="1500" kern="1200" dirty="0">
              <a:latin typeface="Cambria" panose="02040503050406030204" pitchFamily="18" charset="0"/>
              <a:cs typeface="Arial" panose="020B0604020202020204" pitchFamily="34" charset="0"/>
            </a:rPr>
            <a:t>What factors influence procyclicality?</a:t>
          </a:r>
          <a:r>
            <a:rPr lang="en-US" sz="1500" kern="1200" dirty="0">
              <a:latin typeface="Cambria" panose="02040503050406030204" pitchFamily="18" charset="0"/>
              <a:ea typeface="Calibri" panose="020F0502020204030204" pitchFamily="34" charset="0"/>
              <a:cs typeface="Arial" panose="020B0604020202020204" pitchFamily="34" charset="0"/>
            </a:rPr>
            <a:t> </a:t>
          </a:r>
          <a:endParaRPr lang="en-US" sz="1500" kern="1200" dirty="0"/>
        </a:p>
      </dsp:txBody>
      <dsp:txXfrm>
        <a:off x="336994" y="379987"/>
        <a:ext cx="6115541" cy="186466"/>
      </dsp:txXfrm>
    </dsp:sp>
    <dsp:sp modelId="{80DC8CE5-9436-4DDB-BE78-A6992A969238}">
      <dsp:nvSpPr>
        <dsp:cNvPr id="0" name=""/>
        <dsp:cNvSpPr/>
      </dsp:nvSpPr>
      <dsp:spPr>
        <a:xfrm>
          <a:off x="0" y="790740"/>
          <a:ext cx="6544543" cy="176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5321774-AEAE-48C0-AD7A-5AF1CAD2A7E4}">
      <dsp:nvSpPr>
        <dsp:cNvPr id="0" name=""/>
        <dsp:cNvSpPr/>
      </dsp:nvSpPr>
      <dsp:spPr>
        <a:xfrm>
          <a:off x="326907" y="687420"/>
          <a:ext cx="6139880" cy="20664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3158" tIns="0" rIns="173158" bIns="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schemeClr val="accent2"/>
            </a:buClr>
            <a:buFont typeface="Wingdings" panose="05000000000000000000" pitchFamily="2" charset="2"/>
            <a:buNone/>
          </a:pPr>
          <a:r>
            <a:rPr lang="en-US" sz="1500" kern="1200" dirty="0">
              <a:latin typeface="Cambria" panose="02040503050406030204" pitchFamily="18" charset="0"/>
              <a:cs typeface="Arial" panose="020B0604020202020204" pitchFamily="34" charset="0"/>
            </a:rPr>
            <a:t>What factors influence the fiscal response in specific parts of the cycle?</a:t>
          </a:r>
          <a:endParaRPr lang="en-US" sz="1500" kern="1200" dirty="0"/>
        </a:p>
      </dsp:txBody>
      <dsp:txXfrm>
        <a:off x="336994" y="697507"/>
        <a:ext cx="6119706" cy="18646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DBA8D2C-EB58-4129-7665-29B846E651F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CD9DC3E-E2E3-EF46-F90C-267E098BE12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6905625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D03E170-4486-4E1E-A412-15DD007DDEB4}" type="datetimeFigureOut">
              <a:rPr lang="en-US" smtClean="0"/>
              <a:t>11/6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A633D11-279F-E414-FBA2-07E09AF7EA3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6ABF4C5-1351-4D82-D3BD-9D9008432C4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A26B32-9A0F-434F-8DCD-0C370D9A59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359634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6905625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6CB0857-D562-4A70-B1E0-7254C594D7D5}" type="datetimeFigureOut">
              <a:rPr lang="en-US" smtClean="0"/>
              <a:t>11/6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B94A8B-0269-4C22-A01B-E1F5AB7C1C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516847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6 November 2023</a:t>
            </a:fld>
            <a:endParaRPr lang="en-US"/>
          </a:p>
        </p:txBody>
      </p:sp>
      <p:sp>
        <p:nvSpPr>
          <p:cNvPr id="51" name="Slide Image Placeholder 50">
            <a:extLst>
              <a:ext uri="{FF2B5EF4-FFF2-40B4-BE49-F238E27FC236}">
                <a16:creationId xmlns:a16="http://schemas.microsoft.com/office/drawing/2014/main" id="{DCE3710F-2356-44F5-A47E-3DFCE8CD483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17550" y="558800"/>
            <a:ext cx="5575300" cy="3136900"/>
          </a:xfrm>
        </p:spPr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CB4BD2-D4F8-BCC8-83FB-C5DA7E24BAC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94A8B-0269-4C22-A01B-E1F5AB7C1CF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078326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94A8B-0269-4C22-A01B-E1F5AB7C1CF4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212471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6 November 2023</a:t>
            </a:fld>
            <a:endParaRPr lang="en-US"/>
          </a:p>
        </p:txBody>
      </p:sp>
      <p:sp>
        <p:nvSpPr>
          <p:cNvPr id="51" name="Slide Image Placeholder 50">
            <a:extLst>
              <a:ext uri="{FF2B5EF4-FFF2-40B4-BE49-F238E27FC236}">
                <a16:creationId xmlns:a16="http://schemas.microsoft.com/office/drawing/2014/main" id="{DCE3710F-2356-44F5-A47E-3DFCE8CD483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17550" y="558800"/>
            <a:ext cx="5575300" cy="3136900"/>
          </a:xfrm>
        </p:spPr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B9E527-7605-CD06-ABEC-33A6F9279FC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94A8B-0269-4C22-A01B-E1F5AB7C1CF4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941663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94A8B-0269-4C22-A01B-E1F5AB7C1CF4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116120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94A8B-0269-4C22-A01B-E1F5AB7C1CF4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494885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94A8B-0269-4C22-A01B-E1F5AB7C1CF4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64417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94A8B-0269-4C22-A01B-E1F5AB7C1CF4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82518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94A8B-0269-4C22-A01B-E1F5AB7C1CF4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05898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94A8B-0269-4C22-A01B-E1F5AB7C1CF4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17828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94A8B-0269-4C22-A01B-E1F5AB7C1CF4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02598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94A8B-0269-4C22-A01B-E1F5AB7C1CF4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050204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94A8B-0269-4C22-A01B-E1F5AB7C1CF4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89083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94A8B-0269-4C22-A01B-E1F5AB7C1CF4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70872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94A8B-0269-4C22-A01B-E1F5AB7C1CF4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78428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microsoft.com/office/2007/relationships/hdphoto" Target="../media/hdphoto1.wdp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12" Type="http://schemas.openxmlformats.org/officeDocument/2006/relationships/image" Target="../media/image5.pn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11" Type="http://schemas.openxmlformats.org/officeDocument/2006/relationships/image" Target="../media/image4.jpeg"/><Relationship Id="rId5" Type="http://schemas.openxmlformats.org/officeDocument/2006/relationships/tags" Target="../tags/tag25.xml"/><Relationship Id="rId10" Type="http://schemas.openxmlformats.org/officeDocument/2006/relationships/image" Target="../media/image3.emf"/><Relationship Id="rId4" Type="http://schemas.openxmlformats.org/officeDocument/2006/relationships/tags" Target="../tags/tag24.xml"/><Relationship Id="rId9" Type="http://schemas.openxmlformats.org/officeDocument/2006/relationships/oleObject" Target="../embeddings/oleObject2.bin"/><Relationship Id="rId14" Type="http://schemas.openxmlformats.org/officeDocument/2006/relationships/oleObject" Target="../embeddings/oleObject3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5.xml"/><Relationship Id="rId3" Type="http://schemas.openxmlformats.org/officeDocument/2006/relationships/tags" Target="../tags/tag90.xml"/><Relationship Id="rId7" Type="http://schemas.openxmlformats.org/officeDocument/2006/relationships/tags" Target="../tags/tag94.xml"/><Relationship Id="rId12" Type="http://schemas.openxmlformats.org/officeDocument/2006/relationships/image" Target="../media/image2.emf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tags" Target="../tags/tag93.xml"/><Relationship Id="rId11" Type="http://schemas.openxmlformats.org/officeDocument/2006/relationships/image" Target="../media/image7.emf"/><Relationship Id="rId5" Type="http://schemas.openxmlformats.org/officeDocument/2006/relationships/tags" Target="../tags/tag92.xml"/><Relationship Id="rId10" Type="http://schemas.openxmlformats.org/officeDocument/2006/relationships/oleObject" Target="../embeddings/oleObject13.bin"/><Relationship Id="rId4" Type="http://schemas.openxmlformats.org/officeDocument/2006/relationships/tags" Target="../tags/tag91.xml"/><Relationship Id="rId9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12" Type="http://schemas.openxmlformats.org/officeDocument/2006/relationships/image" Target="../media/image2.emf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11" Type="http://schemas.openxmlformats.org/officeDocument/2006/relationships/image" Target="../media/image1.emf"/><Relationship Id="rId5" Type="http://schemas.openxmlformats.org/officeDocument/2006/relationships/tags" Target="../tags/tag100.xml"/><Relationship Id="rId10" Type="http://schemas.openxmlformats.org/officeDocument/2006/relationships/oleObject" Target="../embeddings/oleObject14.bin"/><Relationship Id="rId4" Type="http://schemas.openxmlformats.org/officeDocument/2006/relationships/tags" Target="../tags/tag99.xml"/><Relationship Id="rId9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0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tags" Target="../tags/tag109.xml"/><Relationship Id="rId5" Type="http://schemas.openxmlformats.org/officeDocument/2006/relationships/tags" Target="../tags/tag108.xml"/><Relationship Id="rId10" Type="http://schemas.openxmlformats.org/officeDocument/2006/relationships/image" Target="../media/image2.emf"/><Relationship Id="rId4" Type="http://schemas.openxmlformats.org/officeDocument/2006/relationships/tags" Target="../tags/tag107.xml"/><Relationship Id="rId9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7" Type="http://schemas.openxmlformats.org/officeDocument/2006/relationships/image" Target="../media/image3.emf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18.xml"/><Relationship Id="rId7" Type="http://schemas.openxmlformats.org/officeDocument/2006/relationships/tags" Target="../tags/tag122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tags" Target="../tags/tag121.xml"/><Relationship Id="rId5" Type="http://schemas.openxmlformats.org/officeDocument/2006/relationships/tags" Target="../tags/tag120.xml"/><Relationship Id="rId10" Type="http://schemas.openxmlformats.org/officeDocument/2006/relationships/image" Target="../media/image1.emf"/><Relationship Id="rId4" Type="http://schemas.openxmlformats.org/officeDocument/2006/relationships/tags" Target="../tags/tag119.xml"/><Relationship Id="rId9" Type="http://schemas.openxmlformats.org/officeDocument/2006/relationships/oleObject" Target="../embeddings/oleObject5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25.xml"/><Relationship Id="rId7" Type="http://schemas.openxmlformats.org/officeDocument/2006/relationships/oleObject" Target="../embeddings/oleObject3.bin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slideMaster" Target="../slideMasters/slideMaster1.xml"/><Relationship Id="rId11" Type="http://schemas.microsoft.com/office/2007/relationships/hdphoto" Target="../media/hdphoto1.wdp"/><Relationship Id="rId5" Type="http://schemas.openxmlformats.org/officeDocument/2006/relationships/tags" Target="../tags/tag127.xml"/><Relationship Id="rId10" Type="http://schemas.openxmlformats.org/officeDocument/2006/relationships/image" Target="../media/image5.png"/><Relationship Id="rId4" Type="http://schemas.openxmlformats.org/officeDocument/2006/relationships/tags" Target="../tags/tag126.xml"/><Relationship Id="rId9" Type="http://schemas.openxmlformats.org/officeDocument/2006/relationships/image" Target="../media/image4.jpeg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151.xml"/><Relationship Id="rId7" Type="http://schemas.openxmlformats.org/officeDocument/2006/relationships/image" Target="../media/image3.emf"/><Relationship Id="rId2" Type="http://schemas.openxmlformats.org/officeDocument/2006/relationships/tags" Target="../tags/tag150.xml"/><Relationship Id="rId1" Type="http://schemas.openxmlformats.org/officeDocument/2006/relationships/tags" Target="../tags/tag149.x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2.xml"/><Relationship Id="rId10" Type="http://schemas.microsoft.com/office/2007/relationships/hdphoto" Target="../media/hdphoto1.wdp"/><Relationship Id="rId4" Type="http://schemas.openxmlformats.org/officeDocument/2006/relationships/tags" Target="../tags/tag152.xml"/><Relationship Id="rId9" Type="http://schemas.openxmlformats.org/officeDocument/2006/relationships/image" Target="../media/image5.png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55.xml"/><Relationship Id="rId7" Type="http://schemas.openxmlformats.org/officeDocument/2006/relationships/tags" Target="../tags/tag159.xml"/><Relationship Id="rId2" Type="http://schemas.openxmlformats.org/officeDocument/2006/relationships/tags" Target="../tags/tag154.xml"/><Relationship Id="rId1" Type="http://schemas.openxmlformats.org/officeDocument/2006/relationships/tags" Target="../tags/tag153.xml"/><Relationship Id="rId6" Type="http://schemas.openxmlformats.org/officeDocument/2006/relationships/tags" Target="../tags/tag158.xml"/><Relationship Id="rId5" Type="http://schemas.openxmlformats.org/officeDocument/2006/relationships/tags" Target="../tags/tag157.xml"/><Relationship Id="rId10" Type="http://schemas.openxmlformats.org/officeDocument/2006/relationships/image" Target="../media/image1.emf"/><Relationship Id="rId4" Type="http://schemas.openxmlformats.org/officeDocument/2006/relationships/tags" Target="../tags/tag156.xml"/><Relationship Id="rId9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oleObject" Target="../embeddings/oleObject4.bin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11" Type="http://schemas.openxmlformats.org/officeDocument/2006/relationships/tags" Target="../tags/tag38.xml"/><Relationship Id="rId5" Type="http://schemas.openxmlformats.org/officeDocument/2006/relationships/tags" Target="../tags/tag32.xml"/><Relationship Id="rId15" Type="http://schemas.openxmlformats.org/officeDocument/2006/relationships/oleObject" Target="../embeddings/oleObject5.bin"/><Relationship Id="rId10" Type="http://schemas.openxmlformats.org/officeDocument/2006/relationships/tags" Target="../tags/tag37.xml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.bin"/><Relationship Id="rId3" Type="http://schemas.openxmlformats.org/officeDocument/2006/relationships/tags" Target="../tags/tag16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tags" Target="../tags/tag165.xml"/><Relationship Id="rId5" Type="http://schemas.openxmlformats.org/officeDocument/2006/relationships/tags" Target="../tags/tag164.xml"/><Relationship Id="rId4" Type="http://schemas.openxmlformats.org/officeDocument/2006/relationships/tags" Target="../tags/tag163.xml"/><Relationship Id="rId9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.bin"/><Relationship Id="rId3" Type="http://schemas.openxmlformats.org/officeDocument/2006/relationships/tags" Target="../tags/tag168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6" Type="http://schemas.openxmlformats.org/officeDocument/2006/relationships/tags" Target="../tags/tag171.xml"/><Relationship Id="rId5" Type="http://schemas.openxmlformats.org/officeDocument/2006/relationships/tags" Target="../tags/tag170.xml"/><Relationship Id="rId4" Type="http://schemas.openxmlformats.org/officeDocument/2006/relationships/tags" Target="../tags/tag169.xml"/><Relationship Id="rId9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3.bin"/><Relationship Id="rId3" Type="http://schemas.openxmlformats.org/officeDocument/2006/relationships/tags" Target="../tags/tag174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73.xml"/><Relationship Id="rId1" Type="http://schemas.openxmlformats.org/officeDocument/2006/relationships/tags" Target="../tags/tag172.xml"/><Relationship Id="rId6" Type="http://schemas.openxmlformats.org/officeDocument/2006/relationships/tags" Target="../tags/tag177.xml"/><Relationship Id="rId11" Type="http://schemas.microsoft.com/office/2007/relationships/hdphoto" Target="../media/hdphoto2.wdp"/><Relationship Id="rId5" Type="http://schemas.openxmlformats.org/officeDocument/2006/relationships/tags" Target="../tags/tag176.xml"/><Relationship Id="rId10" Type="http://schemas.openxmlformats.org/officeDocument/2006/relationships/image" Target="../media/image8.png"/><Relationship Id="rId4" Type="http://schemas.openxmlformats.org/officeDocument/2006/relationships/tags" Target="../tags/tag175.xml"/><Relationship Id="rId9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80.xml"/><Relationship Id="rId7" Type="http://schemas.openxmlformats.org/officeDocument/2006/relationships/tags" Target="../tags/tag184.xml"/><Relationship Id="rId2" Type="http://schemas.openxmlformats.org/officeDocument/2006/relationships/tags" Target="../tags/tag179.xml"/><Relationship Id="rId1" Type="http://schemas.openxmlformats.org/officeDocument/2006/relationships/tags" Target="../tags/tag178.xml"/><Relationship Id="rId6" Type="http://schemas.openxmlformats.org/officeDocument/2006/relationships/tags" Target="../tags/tag183.xml"/><Relationship Id="rId5" Type="http://schemas.openxmlformats.org/officeDocument/2006/relationships/tags" Target="../tags/tag182.xml"/><Relationship Id="rId10" Type="http://schemas.openxmlformats.org/officeDocument/2006/relationships/image" Target="../media/image3.emf"/><Relationship Id="rId4" Type="http://schemas.openxmlformats.org/officeDocument/2006/relationships/tags" Target="../tags/tag181.xml"/><Relationship Id="rId9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192.xml"/><Relationship Id="rId3" Type="http://schemas.openxmlformats.org/officeDocument/2006/relationships/tags" Target="../tags/tag187.xml"/><Relationship Id="rId7" Type="http://schemas.openxmlformats.org/officeDocument/2006/relationships/tags" Target="../tags/tag191.xml"/><Relationship Id="rId12" Type="http://schemas.openxmlformats.org/officeDocument/2006/relationships/image" Target="../media/image2.emf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6" Type="http://schemas.openxmlformats.org/officeDocument/2006/relationships/tags" Target="../tags/tag190.xml"/><Relationship Id="rId11" Type="http://schemas.openxmlformats.org/officeDocument/2006/relationships/image" Target="../media/image1.emf"/><Relationship Id="rId5" Type="http://schemas.openxmlformats.org/officeDocument/2006/relationships/tags" Target="../tags/tag189.xml"/><Relationship Id="rId10" Type="http://schemas.openxmlformats.org/officeDocument/2006/relationships/oleObject" Target="../embeddings/oleObject25.bin"/><Relationship Id="rId4" Type="http://schemas.openxmlformats.org/officeDocument/2006/relationships/tags" Target="../tags/tag188.xml"/><Relationship Id="rId9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00.xml"/><Relationship Id="rId3" Type="http://schemas.openxmlformats.org/officeDocument/2006/relationships/tags" Target="../tags/tag195.xml"/><Relationship Id="rId7" Type="http://schemas.openxmlformats.org/officeDocument/2006/relationships/tags" Target="../tags/tag199.xml"/><Relationship Id="rId12" Type="http://schemas.openxmlformats.org/officeDocument/2006/relationships/image" Target="../media/image2.emf"/><Relationship Id="rId2" Type="http://schemas.openxmlformats.org/officeDocument/2006/relationships/tags" Target="../tags/tag194.xml"/><Relationship Id="rId1" Type="http://schemas.openxmlformats.org/officeDocument/2006/relationships/tags" Target="../tags/tag193.xml"/><Relationship Id="rId6" Type="http://schemas.openxmlformats.org/officeDocument/2006/relationships/tags" Target="../tags/tag198.xml"/><Relationship Id="rId11" Type="http://schemas.openxmlformats.org/officeDocument/2006/relationships/image" Target="../media/image1.emf"/><Relationship Id="rId5" Type="http://schemas.openxmlformats.org/officeDocument/2006/relationships/tags" Target="../tags/tag197.xml"/><Relationship Id="rId10" Type="http://schemas.openxmlformats.org/officeDocument/2006/relationships/oleObject" Target="../embeddings/oleObject26.bin"/><Relationship Id="rId4" Type="http://schemas.openxmlformats.org/officeDocument/2006/relationships/tags" Target="../tags/tag196.xml"/><Relationship Id="rId9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08.xml"/><Relationship Id="rId3" Type="http://schemas.openxmlformats.org/officeDocument/2006/relationships/tags" Target="../tags/tag203.xml"/><Relationship Id="rId7" Type="http://schemas.openxmlformats.org/officeDocument/2006/relationships/tags" Target="../tags/tag207.xml"/><Relationship Id="rId12" Type="http://schemas.openxmlformats.org/officeDocument/2006/relationships/image" Target="../media/image2.emf"/><Relationship Id="rId2" Type="http://schemas.openxmlformats.org/officeDocument/2006/relationships/tags" Target="../tags/tag202.xml"/><Relationship Id="rId1" Type="http://schemas.openxmlformats.org/officeDocument/2006/relationships/tags" Target="../tags/tag201.xml"/><Relationship Id="rId6" Type="http://schemas.openxmlformats.org/officeDocument/2006/relationships/tags" Target="../tags/tag206.xml"/><Relationship Id="rId11" Type="http://schemas.openxmlformats.org/officeDocument/2006/relationships/image" Target="../media/image3.emf"/><Relationship Id="rId5" Type="http://schemas.openxmlformats.org/officeDocument/2006/relationships/tags" Target="../tags/tag205.xml"/><Relationship Id="rId10" Type="http://schemas.openxmlformats.org/officeDocument/2006/relationships/oleObject" Target="../embeddings/oleObject27.bin"/><Relationship Id="rId4" Type="http://schemas.openxmlformats.org/officeDocument/2006/relationships/tags" Target="../tags/tag204.xml"/><Relationship Id="rId9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16.xml"/><Relationship Id="rId3" Type="http://schemas.openxmlformats.org/officeDocument/2006/relationships/tags" Target="../tags/tag211.xml"/><Relationship Id="rId7" Type="http://schemas.openxmlformats.org/officeDocument/2006/relationships/tags" Target="../tags/tag215.xml"/><Relationship Id="rId12" Type="http://schemas.openxmlformats.org/officeDocument/2006/relationships/image" Target="../media/image2.emf"/><Relationship Id="rId2" Type="http://schemas.openxmlformats.org/officeDocument/2006/relationships/tags" Target="../tags/tag210.xml"/><Relationship Id="rId1" Type="http://schemas.openxmlformats.org/officeDocument/2006/relationships/tags" Target="../tags/tag209.xml"/><Relationship Id="rId6" Type="http://schemas.openxmlformats.org/officeDocument/2006/relationships/tags" Target="../tags/tag214.xml"/><Relationship Id="rId11" Type="http://schemas.openxmlformats.org/officeDocument/2006/relationships/image" Target="../media/image1.emf"/><Relationship Id="rId5" Type="http://schemas.openxmlformats.org/officeDocument/2006/relationships/tags" Target="../tags/tag213.xml"/><Relationship Id="rId10" Type="http://schemas.openxmlformats.org/officeDocument/2006/relationships/oleObject" Target="../embeddings/oleObject28.bin"/><Relationship Id="rId4" Type="http://schemas.openxmlformats.org/officeDocument/2006/relationships/tags" Target="../tags/tag212.xml"/><Relationship Id="rId9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24.xml"/><Relationship Id="rId3" Type="http://schemas.openxmlformats.org/officeDocument/2006/relationships/tags" Target="../tags/tag219.xml"/><Relationship Id="rId7" Type="http://schemas.openxmlformats.org/officeDocument/2006/relationships/tags" Target="../tags/tag223.xml"/><Relationship Id="rId12" Type="http://schemas.openxmlformats.org/officeDocument/2006/relationships/image" Target="../media/image2.emf"/><Relationship Id="rId2" Type="http://schemas.openxmlformats.org/officeDocument/2006/relationships/tags" Target="../tags/tag218.xml"/><Relationship Id="rId1" Type="http://schemas.openxmlformats.org/officeDocument/2006/relationships/tags" Target="../tags/tag217.xml"/><Relationship Id="rId6" Type="http://schemas.openxmlformats.org/officeDocument/2006/relationships/tags" Target="../tags/tag222.xml"/><Relationship Id="rId11" Type="http://schemas.openxmlformats.org/officeDocument/2006/relationships/image" Target="../media/image3.emf"/><Relationship Id="rId5" Type="http://schemas.openxmlformats.org/officeDocument/2006/relationships/tags" Target="../tags/tag221.xml"/><Relationship Id="rId10" Type="http://schemas.openxmlformats.org/officeDocument/2006/relationships/oleObject" Target="../embeddings/oleObject29.bin"/><Relationship Id="rId4" Type="http://schemas.openxmlformats.org/officeDocument/2006/relationships/tags" Target="../tags/tag220.xml"/><Relationship Id="rId9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232.xml"/><Relationship Id="rId3" Type="http://schemas.openxmlformats.org/officeDocument/2006/relationships/tags" Target="../tags/tag227.xml"/><Relationship Id="rId7" Type="http://schemas.openxmlformats.org/officeDocument/2006/relationships/tags" Target="../tags/tag231.xml"/><Relationship Id="rId12" Type="http://schemas.openxmlformats.org/officeDocument/2006/relationships/image" Target="../media/image2.emf"/><Relationship Id="rId2" Type="http://schemas.openxmlformats.org/officeDocument/2006/relationships/tags" Target="../tags/tag226.xml"/><Relationship Id="rId1" Type="http://schemas.openxmlformats.org/officeDocument/2006/relationships/tags" Target="../tags/tag225.xml"/><Relationship Id="rId6" Type="http://schemas.openxmlformats.org/officeDocument/2006/relationships/tags" Target="../tags/tag230.xml"/><Relationship Id="rId11" Type="http://schemas.openxmlformats.org/officeDocument/2006/relationships/image" Target="../media/image3.emf"/><Relationship Id="rId5" Type="http://schemas.openxmlformats.org/officeDocument/2006/relationships/tags" Target="../tags/tag229.xml"/><Relationship Id="rId10" Type="http://schemas.openxmlformats.org/officeDocument/2006/relationships/oleObject" Target="../embeddings/oleObject30.bin"/><Relationship Id="rId4" Type="http://schemas.openxmlformats.org/officeDocument/2006/relationships/tags" Target="../tags/tag228.xml"/><Relationship Id="rId9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4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5" Type="http://schemas.openxmlformats.org/officeDocument/2006/relationships/tags" Target="../tags/tag43.xml"/><Relationship Id="rId4" Type="http://schemas.openxmlformats.org/officeDocument/2006/relationships/tags" Target="../tags/tag42.xml"/><Relationship Id="rId9" Type="http://schemas.openxmlformats.org/officeDocument/2006/relationships/image" Target="../media/image3.emf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240.xml"/><Relationship Id="rId3" Type="http://schemas.openxmlformats.org/officeDocument/2006/relationships/tags" Target="../tags/tag235.xml"/><Relationship Id="rId7" Type="http://schemas.openxmlformats.org/officeDocument/2006/relationships/tags" Target="../tags/tag239.xml"/><Relationship Id="rId12" Type="http://schemas.openxmlformats.org/officeDocument/2006/relationships/image" Target="../media/image2.emf"/><Relationship Id="rId2" Type="http://schemas.openxmlformats.org/officeDocument/2006/relationships/tags" Target="../tags/tag234.xml"/><Relationship Id="rId1" Type="http://schemas.openxmlformats.org/officeDocument/2006/relationships/tags" Target="../tags/tag233.xml"/><Relationship Id="rId6" Type="http://schemas.openxmlformats.org/officeDocument/2006/relationships/tags" Target="../tags/tag238.xml"/><Relationship Id="rId11" Type="http://schemas.openxmlformats.org/officeDocument/2006/relationships/image" Target="../media/image1.emf"/><Relationship Id="rId5" Type="http://schemas.openxmlformats.org/officeDocument/2006/relationships/tags" Target="../tags/tag237.xml"/><Relationship Id="rId10" Type="http://schemas.openxmlformats.org/officeDocument/2006/relationships/oleObject" Target="../embeddings/oleObject31.bin"/><Relationship Id="rId4" Type="http://schemas.openxmlformats.org/officeDocument/2006/relationships/tags" Target="../tags/tag236.xml"/><Relationship Id="rId9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248.xml"/><Relationship Id="rId3" Type="http://schemas.openxmlformats.org/officeDocument/2006/relationships/tags" Target="../tags/tag243.xml"/><Relationship Id="rId7" Type="http://schemas.openxmlformats.org/officeDocument/2006/relationships/tags" Target="../tags/tag247.xml"/><Relationship Id="rId12" Type="http://schemas.openxmlformats.org/officeDocument/2006/relationships/image" Target="../media/image2.emf"/><Relationship Id="rId2" Type="http://schemas.openxmlformats.org/officeDocument/2006/relationships/tags" Target="../tags/tag242.xml"/><Relationship Id="rId1" Type="http://schemas.openxmlformats.org/officeDocument/2006/relationships/tags" Target="../tags/tag241.xml"/><Relationship Id="rId6" Type="http://schemas.openxmlformats.org/officeDocument/2006/relationships/tags" Target="../tags/tag246.xml"/><Relationship Id="rId11" Type="http://schemas.openxmlformats.org/officeDocument/2006/relationships/image" Target="../media/image3.emf"/><Relationship Id="rId5" Type="http://schemas.openxmlformats.org/officeDocument/2006/relationships/tags" Target="../tags/tag245.xml"/><Relationship Id="rId10" Type="http://schemas.openxmlformats.org/officeDocument/2006/relationships/oleObject" Target="../embeddings/oleObject32.bin"/><Relationship Id="rId4" Type="http://schemas.openxmlformats.org/officeDocument/2006/relationships/tags" Target="../tags/tag244.xml"/><Relationship Id="rId9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3.bin"/><Relationship Id="rId3" Type="http://schemas.openxmlformats.org/officeDocument/2006/relationships/tags" Target="../tags/tag251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50.xml"/><Relationship Id="rId1" Type="http://schemas.openxmlformats.org/officeDocument/2006/relationships/tags" Target="../tags/tag249.xml"/><Relationship Id="rId6" Type="http://schemas.openxmlformats.org/officeDocument/2006/relationships/tags" Target="../tags/tag254.xml"/><Relationship Id="rId5" Type="http://schemas.openxmlformats.org/officeDocument/2006/relationships/tags" Target="../tags/tag253.xml"/><Relationship Id="rId10" Type="http://schemas.openxmlformats.org/officeDocument/2006/relationships/image" Target="../media/image2.emf"/><Relationship Id="rId4" Type="http://schemas.openxmlformats.org/officeDocument/2006/relationships/tags" Target="../tags/tag252.xml"/><Relationship Id="rId9" Type="http://schemas.openxmlformats.org/officeDocument/2006/relationships/image" Target="../media/image3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257.xml"/><Relationship Id="rId7" Type="http://schemas.openxmlformats.org/officeDocument/2006/relationships/image" Target="../media/image3.emf"/><Relationship Id="rId2" Type="http://schemas.openxmlformats.org/officeDocument/2006/relationships/tags" Target="../tags/tag256.xml"/><Relationship Id="rId1" Type="http://schemas.openxmlformats.org/officeDocument/2006/relationships/tags" Target="../tags/tag255.xml"/><Relationship Id="rId6" Type="http://schemas.openxmlformats.org/officeDocument/2006/relationships/oleObject" Target="../embeddings/oleObject3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58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0.xml"/><Relationship Id="rId1" Type="http://schemas.openxmlformats.org/officeDocument/2006/relationships/tags" Target="../tags/tag259.x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35.bin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63.xml"/><Relationship Id="rId7" Type="http://schemas.openxmlformats.org/officeDocument/2006/relationships/tags" Target="../tags/tag267.xml"/><Relationship Id="rId2" Type="http://schemas.openxmlformats.org/officeDocument/2006/relationships/tags" Target="../tags/tag262.xml"/><Relationship Id="rId1" Type="http://schemas.openxmlformats.org/officeDocument/2006/relationships/tags" Target="../tags/tag261.xml"/><Relationship Id="rId6" Type="http://schemas.openxmlformats.org/officeDocument/2006/relationships/tags" Target="../tags/tag266.xml"/><Relationship Id="rId5" Type="http://schemas.openxmlformats.org/officeDocument/2006/relationships/tags" Target="../tags/tag265.xml"/><Relationship Id="rId10" Type="http://schemas.openxmlformats.org/officeDocument/2006/relationships/image" Target="../media/image1.emf"/><Relationship Id="rId4" Type="http://schemas.openxmlformats.org/officeDocument/2006/relationships/tags" Target="../tags/tag264.xml"/><Relationship Id="rId9" Type="http://schemas.openxmlformats.org/officeDocument/2006/relationships/oleObject" Target="../embeddings/oleObject36.bin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70.xml"/><Relationship Id="rId7" Type="http://schemas.openxmlformats.org/officeDocument/2006/relationships/oleObject" Target="../embeddings/oleObject3.bin"/><Relationship Id="rId2" Type="http://schemas.openxmlformats.org/officeDocument/2006/relationships/tags" Target="../tags/tag269.xml"/><Relationship Id="rId1" Type="http://schemas.openxmlformats.org/officeDocument/2006/relationships/tags" Target="../tags/tag268.xml"/><Relationship Id="rId6" Type="http://schemas.openxmlformats.org/officeDocument/2006/relationships/slideMaster" Target="../slideMasters/slideMaster2.xml"/><Relationship Id="rId11" Type="http://schemas.microsoft.com/office/2007/relationships/hdphoto" Target="../media/hdphoto1.wdp"/><Relationship Id="rId5" Type="http://schemas.openxmlformats.org/officeDocument/2006/relationships/tags" Target="../tags/tag272.xml"/><Relationship Id="rId10" Type="http://schemas.openxmlformats.org/officeDocument/2006/relationships/image" Target="../media/image5.png"/><Relationship Id="rId4" Type="http://schemas.openxmlformats.org/officeDocument/2006/relationships/tags" Target="../tags/tag271.xml"/><Relationship Id="rId9" Type="http://schemas.openxmlformats.org/officeDocument/2006/relationships/image" Target="../media/image4.jpe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4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5" Type="http://schemas.openxmlformats.org/officeDocument/2006/relationships/tags" Target="../tags/tag49.xml"/><Relationship Id="rId4" Type="http://schemas.openxmlformats.org/officeDocument/2006/relationships/tags" Target="../tags/tag48.xml"/><Relationship Id="rId9" Type="http://schemas.openxmlformats.org/officeDocument/2006/relationships/image" Target="../media/image3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1.xml"/><Relationship Id="rId1" Type="http://schemas.openxmlformats.org/officeDocument/2006/relationships/tags" Target="../tags/tag290.xml"/><Relationship Id="rId6" Type="http://schemas.openxmlformats.org/officeDocument/2006/relationships/image" Target="../media/image6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8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92.xml"/><Relationship Id="rId4" Type="http://schemas.openxmlformats.org/officeDocument/2006/relationships/image" Target="../media/image1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93.xml"/><Relationship Id="rId4" Type="http://schemas.openxmlformats.org/officeDocument/2006/relationships/image" Target="../media/image11.emf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5.xml"/><Relationship Id="rId1" Type="http://schemas.openxmlformats.org/officeDocument/2006/relationships/tags" Target="../tags/tag294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41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7.xml"/><Relationship Id="rId1" Type="http://schemas.openxmlformats.org/officeDocument/2006/relationships/tags" Target="../tags/tag29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2.bin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3.bin"/><Relationship Id="rId3" Type="http://schemas.openxmlformats.org/officeDocument/2006/relationships/tags" Target="../tags/tag300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99.xml"/><Relationship Id="rId1" Type="http://schemas.openxmlformats.org/officeDocument/2006/relationships/tags" Target="../tags/tag298.xml"/><Relationship Id="rId6" Type="http://schemas.openxmlformats.org/officeDocument/2006/relationships/tags" Target="../tags/tag303.xml"/><Relationship Id="rId5" Type="http://schemas.openxmlformats.org/officeDocument/2006/relationships/tags" Target="../tags/tag302.xml"/><Relationship Id="rId4" Type="http://schemas.openxmlformats.org/officeDocument/2006/relationships/tags" Target="../tags/tag301.xml"/><Relationship Id="rId9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4.bin"/><Relationship Id="rId3" Type="http://schemas.openxmlformats.org/officeDocument/2006/relationships/tags" Target="../tags/tag306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05.xml"/><Relationship Id="rId1" Type="http://schemas.openxmlformats.org/officeDocument/2006/relationships/tags" Target="../tags/tag304.xml"/><Relationship Id="rId6" Type="http://schemas.openxmlformats.org/officeDocument/2006/relationships/tags" Target="../tags/tag309.xml"/><Relationship Id="rId5" Type="http://schemas.openxmlformats.org/officeDocument/2006/relationships/tags" Target="../tags/tag308.xml"/><Relationship Id="rId4" Type="http://schemas.openxmlformats.org/officeDocument/2006/relationships/tags" Target="../tags/tag307.xml"/><Relationship Id="rId9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1.xml"/><Relationship Id="rId1" Type="http://schemas.openxmlformats.org/officeDocument/2006/relationships/tags" Target="../tags/tag310.xml"/><Relationship Id="rId6" Type="http://schemas.openxmlformats.org/officeDocument/2006/relationships/image" Target="../media/image2.emf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5.bin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14.xml"/><Relationship Id="rId7" Type="http://schemas.openxmlformats.org/officeDocument/2006/relationships/oleObject" Target="../embeddings/oleObject3.bin"/><Relationship Id="rId2" Type="http://schemas.openxmlformats.org/officeDocument/2006/relationships/tags" Target="../tags/tag313.xml"/><Relationship Id="rId1" Type="http://schemas.openxmlformats.org/officeDocument/2006/relationships/tags" Target="../tags/tag312.xml"/><Relationship Id="rId6" Type="http://schemas.openxmlformats.org/officeDocument/2006/relationships/slideMaster" Target="../slideMasters/slideMaster3.xml"/><Relationship Id="rId11" Type="http://schemas.microsoft.com/office/2007/relationships/hdphoto" Target="../media/hdphoto1.wdp"/><Relationship Id="rId5" Type="http://schemas.openxmlformats.org/officeDocument/2006/relationships/tags" Target="../tags/tag316.xml"/><Relationship Id="rId10" Type="http://schemas.openxmlformats.org/officeDocument/2006/relationships/image" Target="../media/image5.png"/><Relationship Id="rId4" Type="http://schemas.openxmlformats.org/officeDocument/2006/relationships/tags" Target="../tags/tag315.xml"/><Relationship Id="rId9" Type="http://schemas.openxmlformats.org/officeDocument/2006/relationships/image" Target="../media/image4.jpe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5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tags" Target="../tags/tag56.xml"/><Relationship Id="rId5" Type="http://schemas.openxmlformats.org/officeDocument/2006/relationships/tags" Target="../tags/tag55.xml"/><Relationship Id="rId10" Type="http://schemas.openxmlformats.org/officeDocument/2006/relationships/image" Target="../media/image6.png"/><Relationship Id="rId4" Type="http://schemas.openxmlformats.org/officeDocument/2006/relationships/tags" Target="../tags/tag54.xml"/><Relationship Id="rId9" Type="http://schemas.openxmlformats.org/officeDocument/2006/relationships/image" Target="../media/image3.emf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19.xml"/><Relationship Id="rId7" Type="http://schemas.openxmlformats.org/officeDocument/2006/relationships/tags" Target="../tags/tag323.xml"/><Relationship Id="rId2" Type="http://schemas.openxmlformats.org/officeDocument/2006/relationships/tags" Target="../tags/tag318.xml"/><Relationship Id="rId1" Type="http://schemas.openxmlformats.org/officeDocument/2006/relationships/tags" Target="../tags/tag317.xml"/><Relationship Id="rId6" Type="http://schemas.openxmlformats.org/officeDocument/2006/relationships/tags" Target="../tags/tag322.xml"/><Relationship Id="rId5" Type="http://schemas.openxmlformats.org/officeDocument/2006/relationships/tags" Target="../tags/tag321.xml"/><Relationship Id="rId10" Type="http://schemas.openxmlformats.org/officeDocument/2006/relationships/image" Target="../media/image1.emf"/><Relationship Id="rId4" Type="http://schemas.openxmlformats.org/officeDocument/2006/relationships/tags" Target="../tags/tag320.xml"/><Relationship Id="rId9" Type="http://schemas.openxmlformats.org/officeDocument/2006/relationships/oleObject" Target="../embeddings/oleObject5.bin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42.xml"/><Relationship Id="rId1" Type="http://schemas.openxmlformats.org/officeDocument/2006/relationships/tags" Target="../tags/tag341.xml"/><Relationship Id="rId6" Type="http://schemas.openxmlformats.org/officeDocument/2006/relationships/image" Target="../media/image6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7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43.xml"/><Relationship Id="rId4" Type="http://schemas.openxmlformats.org/officeDocument/2006/relationships/image" Target="../media/image1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44.xml"/><Relationship Id="rId4" Type="http://schemas.openxmlformats.org/officeDocument/2006/relationships/image" Target="../media/image11.emf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47.xml"/><Relationship Id="rId7" Type="http://schemas.openxmlformats.org/officeDocument/2006/relationships/oleObject" Target="../embeddings/oleObject3.bin"/><Relationship Id="rId2" Type="http://schemas.openxmlformats.org/officeDocument/2006/relationships/tags" Target="../tags/tag346.xml"/><Relationship Id="rId1" Type="http://schemas.openxmlformats.org/officeDocument/2006/relationships/tags" Target="../tags/tag345.xml"/><Relationship Id="rId6" Type="http://schemas.openxmlformats.org/officeDocument/2006/relationships/slideMaster" Target="../slideMasters/slideMaster4.xml"/><Relationship Id="rId11" Type="http://schemas.microsoft.com/office/2007/relationships/hdphoto" Target="../media/hdphoto1.wdp"/><Relationship Id="rId5" Type="http://schemas.openxmlformats.org/officeDocument/2006/relationships/tags" Target="../tags/tag349.xml"/><Relationship Id="rId10" Type="http://schemas.openxmlformats.org/officeDocument/2006/relationships/image" Target="../media/image5.png"/><Relationship Id="rId4" Type="http://schemas.openxmlformats.org/officeDocument/2006/relationships/tags" Target="../tags/tag348.xml"/><Relationship Id="rId9" Type="http://schemas.openxmlformats.org/officeDocument/2006/relationships/image" Target="../media/image4.jpeg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5" Type="http://schemas.openxmlformats.org/officeDocument/2006/relationships/tags" Target="../tags/tag61.xml"/><Relationship Id="rId10" Type="http://schemas.openxmlformats.org/officeDocument/2006/relationships/image" Target="../media/image3.emf"/><Relationship Id="rId4" Type="http://schemas.openxmlformats.org/officeDocument/2006/relationships/tags" Target="../tags/tag60.xml"/><Relationship Id="rId9" Type="http://schemas.openxmlformats.org/officeDocument/2006/relationships/oleObject" Target="../embeddings/oleObject9.bin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352.xml"/><Relationship Id="rId7" Type="http://schemas.openxmlformats.org/officeDocument/2006/relationships/tags" Target="../tags/tag356.xml"/><Relationship Id="rId2" Type="http://schemas.openxmlformats.org/officeDocument/2006/relationships/tags" Target="../tags/tag351.xml"/><Relationship Id="rId1" Type="http://schemas.openxmlformats.org/officeDocument/2006/relationships/tags" Target="../tags/tag350.xml"/><Relationship Id="rId6" Type="http://schemas.openxmlformats.org/officeDocument/2006/relationships/tags" Target="../tags/tag355.xml"/><Relationship Id="rId5" Type="http://schemas.openxmlformats.org/officeDocument/2006/relationships/tags" Target="../tags/tag354.xml"/><Relationship Id="rId10" Type="http://schemas.openxmlformats.org/officeDocument/2006/relationships/image" Target="../media/image1.emf"/><Relationship Id="rId4" Type="http://schemas.openxmlformats.org/officeDocument/2006/relationships/tags" Target="../tags/tag353.xml"/><Relationship Id="rId9" Type="http://schemas.openxmlformats.org/officeDocument/2006/relationships/oleObject" Target="../embeddings/oleObject5.bin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75.xml"/><Relationship Id="rId1" Type="http://schemas.openxmlformats.org/officeDocument/2006/relationships/tags" Target="../tags/tag374.xml"/><Relationship Id="rId6" Type="http://schemas.openxmlformats.org/officeDocument/2006/relationships/image" Target="../media/image6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1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76.xml"/><Relationship Id="rId4" Type="http://schemas.openxmlformats.org/officeDocument/2006/relationships/image" Target="../media/image11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77.xml"/><Relationship Id="rId4" Type="http://schemas.openxmlformats.org/officeDocument/2006/relationships/image" Target="../media/image11.emf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79.xml"/><Relationship Id="rId4" Type="http://schemas.openxmlformats.org/officeDocument/2006/relationships/image" Target="../media/image11.emf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82.xml"/><Relationship Id="rId7" Type="http://schemas.openxmlformats.org/officeDocument/2006/relationships/oleObject" Target="../embeddings/oleObject3.bin"/><Relationship Id="rId2" Type="http://schemas.openxmlformats.org/officeDocument/2006/relationships/tags" Target="../tags/tag381.xml"/><Relationship Id="rId1" Type="http://schemas.openxmlformats.org/officeDocument/2006/relationships/tags" Target="../tags/tag380.xml"/><Relationship Id="rId6" Type="http://schemas.openxmlformats.org/officeDocument/2006/relationships/slideMaster" Target="../slideMasters/slideMaster6.xml"/><Relationship Id="rId11" Type="http://schemas.microsoft.com/office/2007/relationships/hdphoto" Target="../media/hdphoto1.wdp"/><Relationship Id="rId5" Type="http://schemas.openxmlformats.org/officeDocument/2006/relationships/tags" Target="../tags/tag384.xml"/><Relationship Id="rId10" Type="http://schemas.openxmlformats.org/officeDocument/2006/relationships/image" Target="../media/image5.png"/><Relationship Id="rId4" Type="http://schemas.openxmlformats.org/officeDocument/2006/relationships/tags" Target="../tags/tag383.xml"/><Relationship Id="rId9" Type="http://schemas.openxmlformats.org/officeDocument/2006/relationships/image" Target="../media/image4.jpeg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71.xml"/><Relationship Id="rId3" Type="http://schemas.openxmlformats.org/officeDocument/2006/relationships/tags" Target="../tags/tag66.xml"/><Relationship Id="rId7" Type="http://schemas.openxmlformats.org/officeDocument/2006/relationships/tags" Target="../tags/tag70.xml"/><Relationship Id="rId12" Type="http://schemas.openxmlformats.org/officeDocument/2006/relationships/image" Target="../media/image2.emf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tags" Target="../tags/tag69.xml"/><Relationship Id="rId11" Type="http://schemas.openxmlformats.org/officeDocument/2006/relationships/image" Target="../media/image1.emf"/><Relationship Id="rId5" Type="http://schemas.openxmlformats.org/officeDocument/2006/relationships/tags" Target="../tags/tag68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67.xml"/><Relationship Id="rId9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387.xml"/><Relationship Id="rId7" Type="http://schemas.openxmlformats.org/officeDocument/2006/relationships/tags" Target="../tags/tag391.xml"/><Relationship Id="rId2" Type="http://schemas.openxmlformats.org/officeDocument/2006/relationships/tags" Target="../tags/tag386.xml"/><Relationship Id="rId1" Type="http://schemas.openxmlformats.org/officeDocument/2006/relationships/tags" Target="../tags/tag385.xml"/><Relationship Id="rId6" Type="http://schemas.openxmlformats.org/officeDocument/2006/relationships/tags" Target="../tags/tag390.xml"/><Relationship Id="rId5" Type="http://schemas.openxmlformats.org/officeDocument/2006/relationships/tags" Target="../tags/tag389.xml"/><Relationship Id="rId10" Type="http://schemas.openxmlformats.org/officeDocument/2006/relationships/image" Target="../media/image1.emf"/><Relationship Id="rId4" Type="http://schemas.openxmlformats.org/officeDocument/2006/relationships/tags" Target="../tags/tag388.xml"/><Relationship Id="rId9" Type="http://schemas.openxmlformats.org/officeDocument/2006/relationships/oleObject" Target="../embeddings/oleObject5.bin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410.xml"/><Relationship Id="rId1" Type="http://schemas.openxmlformats.org/officeDocument/2006/relationships/tags" Target="../tags/tag409.xml"/><Relationship Id="rId6" Type="http://schemas.openxmlformats.org/officeDocument/2006/relationships/image" Target="../media/image6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7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11.xml"/><Relationship Id="rId4" Type="http://schemas.openxmlformats.org/officeDocument/2006/relationships/image" Target="../media/image11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12.xml"/><Relationship Id="rId4" Type="http://schemas.openxmlformats.org/officeDocument/2006/relationships/image" Target="../media/image11.emf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414.xml"/><Relationship Id="rId1" Type="http://schemas.openxmlformats.org/officeDocument/2006/relationships/tags" Target="../tags/tag413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60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433.xml"/><Relationship Id="rId1" Type="http://schemas.openxmlformats.org/officeDocument/2006/relationships/tags" Target="../tags/tag432.xml"/><Relationship Id="rId6" Type="http://schemas.openxmlformats.org/officeDocument/2006/relationships/image" Target="../media/image6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62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34.xml"/><Relationship Id="rId4" Type="http://schemas.openxmlformats.org/officeDocument/2006/relationships/image" Target="../media/image11.emf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12" Type="http://schemas.openxmlformats.org/officeDocument/2006/relationships/image" Target="../media/image2.emf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tags" Target="../tags/tag77.xml"/><Relationship Id="rId11" Type="http://schemas.openxmlformats.org/officeDocument/2006/relationships/image" Target="../media/image1.emf"/><Relationship Id="rId5" Type="http://schemas.openxmlformats.org/officeDocument/2006/relationships/tags" Target="../tags/tag76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75.xml"/><Relationship Id="rId9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35.xml"/><Relationship Id="rId4" Type="http://schemas.openxmlformats.org/officeDocument/2006/relationships/image" Target="../media/image11.emf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437.xml"/><Relationship Id="rId1" Type="http://schemas.openxmlformats.org/officeDocument/2006/relationships/tags" Target="../tags/tag436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65.bin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460.xml"/><Relationship Id="rId7" Type="http://schemas.openxmlformats.org/officeDocument/2006/relationships/oleObject" Target="../embeddings/oleObject67.bin"/><Relationship Id="rId2" Type="http://schemas.openxmlformats.org/officeDocument/2006/relationships/tags" Target="../tags/tag459.xml"/><Relationship Id="rId1" Type="http://schemas.openxmlformats.org/officeDocument/2006/relationships/tags" Target="../tags/tag458.xml"/><Relationship Id="rId6" Type="http://schemas.openxmlformats.org/officeDocument/2006/relationships/slideMaster" Target="../slideMasters/slideMaster9.xml"/><Relationship Id="rId11" Type="http://schemas.microsoft.com/office/2007/relationships/hdphoto" Target="../media/hdphoto1.wdp"/><Relationship Id="rId5" Type="http://schemas.openxmlformats.org/officeDocument/2006/relationships/tags" Target="../tags/tag462.xml"/><Relationship Id="rId10" Type="http://schemas.openxmlformats.org/officeDocument/2006/relationships/image" Target="../media/image5.png"/><Relationship Id="rId4" Type="http://schemas.openxmlformats.org/officeDocument/2006/relationships/tags" Target="../tags/tag461.xml"/><Relationship Id="rId9" Type="http://schemas.openxmlformats.org/officeDocument/2006/relationships/image" Target="../media/image4.jpeg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9.xml"/><Relationship Id="rId3" Type="http://schemas.openxmlformats.org/officeDocument/2006/relationships/tags" Target="../tags/tag465.xml"/><Relationship Id="rId7" Type="http://schemas.openxmlformats.org/officeDocument/2006/relationships/tags" Target="../tags/tag469.xml"/><Relationship Id="rId2" Type="http://schemas.openxmlformats.org/officeDocument/2006/relationships/tags" Target="../tags/tag464.xml"/><Relationship Id="rId1" Type="http://schemas.openxmlformats.org/officeDocument/2006/relationships/tags" Target="../tags/tag463.xml"/><Relationship Id="rId6" Type="http://schemas.openxmlformats.org/officeDocument/2006/relationships/tags" Target="../tags/tag468.xml"/><Relationship Id="rId5" Type="http://schemas.openxmlformats.org/officeDocument/2006/relationships/tags" Target="../tags/tag467.xml"/><Relationship Id="rId10" Type="http://schemas.openxmlformats.org/officeDocument/2006/relationships/image" Target="../media/image1.emf"/><Relationship Id="rId4" Type="http://schemas.openxmlformats.org/officeDocument/2006/relationships/tags" Target="../tags/tag466.xml"/><Relationship Id="rId9" Type="http://schemas.openxmlformats.org/officeDocument/2006/relationships/oleObject" Target="../embeddings/oleObject68.bin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9.bin"/><Relationship Id="rId3" Type="http://schemas.openxmlformats.org/officeDocument/2006/relationships/tags" Target="../tags/tag472.xml"/><Relationship Id="rId7" Type="http://schemas.openxmlformats.org/officeDocument/2006/relationships/slideMaster" Target="../slideMasters/slideMaster9.xml"/><Relationship Id="rId2" Type="http://schemas.openxmlformats.org/officeDocument/2006/relationships/tags" Target="../tags/tag471.xml"/><Relationship Id="rId1" Type="http://schemas.openxmlformats.org/officeDocument/2006/relationships/tags" Target="../tags/tag470.xml"/><Relationship Id="rId6" Type="http://schemas.openxmlformats.org/officeDocument/2006/relationships/tags" Target="../tags/tag475.xml"/><Relationship Id="rId5" Type="http://schemas.openxmlformats.org/officeDocument/2006/relationships/tags" Target="../tags/tag474.xml"/><Relationship Id="rId4" Type="http://schemas.openxmlformats.org/officeDocument/2006/relationships/tags" Target="../tags/tag473.xml"/><Relationship Id="rId9" Type="http://schemas.openxmlformats.org/officeDocument/2006/relationships/image" Target="../media/image3.emf"/></Relationships>
</file>

<file path=ppt/slideLayouts/_rels/slideLayout8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0.bin"/><Relationship Id="rId3" Type="http://schemas.openxmlformats.org/officeDocument/2006/relationships/tags" Target="../tags/tag478.xml"/><Relationship Id="rId7" Type="http://schemas.openxmlformats.org/officeDocument/2006/relationships/slideMaster" Target="../slideMasters/slideMaster9.xml"/><Relationship Id="rId2" Type="http://schemas.openxmlformats.org/officeDocument/2006/relationships/tags" Target="../tags/tag477.xml"/><Relationship Id="rId1" Type="http://schemas.openxmlformats.org/officeDocument/2006/relationships/tags" Target="../tags/tag476.xml"/><Relationship Id="rId6" Type="http://schemas.openxmlformats.org/officeDocument/2006/relationships/tags" Target="../tags/tag481.xml"/><Relationship Id="rId5" Type="http://schemas.openxmlformats.org/officeDocument/2006/relationships/tags" Target="../tags/tag480.xml"/><Relationship Id="rId4" Type="http://schemas.openxmlformats.org/officeDocument/2006/relationships/tags" Target="../tags/tag479.xml"/><Relationship Id="rId9" Type="http://schemas.openxmlformats.org/officeDocument/2006/relationships/image" Target="../media/image3.emf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1.bin"/><Relationship Id="rId3" Type="http://schemas.openxmlformats.org/officeDocument/2006/relationships/tags" Target="../tags/tag484.xml"/><Relationship Id="rId7" Type="http://schemas.openxmlformats.org/officeDocument/2006/relationships/slideMaster" Target="../slideMasters/slideMaster9.xml"/><Relationship Id="rId2" Type="http://schemas.openxmlformats.org/officeDocument/2006/relationships/tags" Target="../tags/tag483.xml"/><Relationship Id="rId1" Type="http://schemas.openxmlformats.org/officeDocument/2006/relationships/tags" Target="../tags/tag482.xml"/><Relationship Id="rId6" Type="http://schemas.openxmlformats.org/officeDocument/2006/relationships/tags" Target="../tags/tag487.xml"/><Relationship Id="rId5" Type="http://schemas.openxmlformats.org/officeDocument/2006/relationships/tags" Target="../tags/tag486.xml"/><Relationship Id="rId10" Type="http://schemas.openxmlformats.org/officeDocument/2006/relationships/image" Target="../media/image6.png"/><Relationship Id="rId4" Type="http://schemas.openxmlformats.org/officeDocument/2006/relationships/tags" Target="../tags/tag485.xml"/><Relationship Id="rId9" Type="http://schemas.openxmlformats.org/officeDocument/2006/relationships/image" Target="../media/image3.emf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9.xml"/><Relationship Id="rId3" Type="http://schemas.openxmlformats.org/officeDocument/2006/relationships/tags" Target="../tags/tag490.xml"/><Relationship Id="rId7" Type="http://schemas.openxmlformats.org/officeDocument/2006/relationships/tags" Target="../tags/tag494.xml"/><Relationship Id="rId2" Type="http://schemas.openxmlformats.org/officeDocument/2006/relationships/tags" Target="../tags/tag489.xml"/><Relationship Id="rId1" Type="http://schemas.openxmlformats.org/officeDocument/2006/relationships/tags" Target="../tags/tag488.xml"/><Relationship Id="rId6" Type="http://schemas.openxmlformats.org/officeDocument/2006/relationships/tags" Target="../tags/tag493.xml"/><Relationship Id="rId5" Type="http://schemas.openxmlformats.org/officeDocument/2006/relationships/tags" Target="../tags/tag492.xml"/><Relationship Id="rId10" Type="http://schemas.openxmlformats.org/officeDocument/2006/relationships/image" Target="../media/image3.emf"/><Relationship Id="rId4" Type="http://schemas.openxmlformats.org/officeDocument/2006/relationships/tags" Target="../tags/tag491.xml"/><Relationship Id="rId9" Type="http://schemas.openxmlformats.org/officeDocument/2006/relationships/oleObject" Target="../embeddings/oleObject72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7.xml"/><Relationship Id="rId3" Type="http://schemas.openxmlformats.org/officeDocument/2006/relationships/tags" Target="../tags/tag82.xml"/><Relationship Id="rId7" Type="http://schemas.openxmlformats.org/officeDocument/2006/relationships/tags" Target="../tags/tag86.xml"/><Relationship Id="rId12" Type="http://schemas.openxmlformats.org/officeDocument/2006/relationships/image" Target="../media/image2.emf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tags" Target="../tags/tag85.xml"/><Relationship Id="rId11" Type="http://schemas.openxmlformats.org/officeDocument/2006/relationships/image" Target="../media/image1.emf"/><Relationship Id="rId5" Type="http://schemas.openxmlformats.org/officeDocument/2006/relationships/tags" Target="../tags/tag84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83.xml"/><Relationship Id="rId9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tags" Target="../tags/tag502.xml"/><Relationship Id="rId3" Type="http://schemas.openxmlformats.org/officeDocument/2006/relationships/tags" Target="../tags/tag497.xml"/><Relationship Id="rId7" Type="http://schemas.openxmlformats.org/officeDocument/2006/relationships/tags" Target="../tags/tag501.xml"/><Relationship Id="rId12" Type="http://schemas.openxmlformats.org/officeDocument/2006/relationships/image" Target="../media/image2.emf"/><Relationship Id="rId2" Type="http://schemas.openxmlformats.org/officeDocument/2006/relationships/tags" Target="../tags/tag496.xml"/><Relationship Id="rId1" Type="http://schemas.openxmlformats.org/officeDocument/2006/relationships/tags" Target="../tags/tag495.xml"/><Relationship Id="rId6" Type="http://schemas.openxmlformats.org/officeDocument/2006/relationships/tags" Target="../tags/tag500.xml"/><Relationship Id="rId11" Type="http://schemas.openxmlformats.org/officeDocument/2006/relationships/image" Target="../media/image1.emf"/><Relationship Id="rId5" Type="http://schemas.openxmlformats.org/officeDocument/2006/relationships/tags" Target="../tags/tag499.xml"/><Relationship Id="rId10" Type="http://schemas.openxmlformats.org/officeDocument/2006/relationships/oleObject" Target="../embeddings/oleObject73.bin"/><Relationship Id="rId4" Type="http://schemas.openxmlformats.org/officeDocument/2006/relationships/tags" Target="../tags/tag498.xml"/><Relationship Id="rId9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8" Type="http://schemas.openxmlformats.org/officeDocument/2006/relationships/tags" Target="../tags/tag510.xml"/><Relationship Id="rId3" Type="http://schemas.openxmlformats.org/officeDocument/2006/relationships/tags" Target="../tags/tag505.xml"/><Relationship Id="rId7" Type="http://schemas.openxmlformats.org/officeDocument/2006/relationships/tags" Target="../tags/tag509.xml"/><Relationship Id="rId12" Type="http://schemas.openxmlformats.org/officeDocument/2006/relationships/image" Target="../media/image2.emf"/><Relationship Id="rId2" Type="http://schemas.openxmlformats.org/officeDocument/2006/relationships/tags" Target="../tags/tag504.xml"/><Relationship Id="rId1" Type="http://schemas.openxmlformats.org/officeDocument/2006/relationships/tags" Target="../tags/tag503.xml"/><Relationship Id="rId6" Type="http://schemas.openxmlformats.org/officeDocument/2006/relationships/tags" Target="../tags/tag508.xml"/><Relationship Id="rId11" Type="http://schemas.openxmlformats.org/officeDocument/2006/relationships/image" Target="../media/image1.emf"/><Relationship Id="rId5" Type="http://schemas.openxmlformats.org/officeDocument/2006/relationships/tags" Target="../tags/tag507.xml"/><Relationship Id="rId10" Type="http://schemas.openxmlformats.org/officeDocument/2006/relationships/oleObject" Target="../embeddings/oleObject74.bin"/><Relationship Id="rId4" Type="http://schemas.openxmlformats.org/officeDocument/2006/relationships/tags" Target="../tags/tag506.xml"/><Relationship Id="rId9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8" Type="http://schemas.openxmlformats.org/officeDocument/2006/relationships/tags" Target="../tags/tag518.xml"/><Relationship Id="rId3" Type="http://schemas.openxmlformats.org/officeDocument/2006/relationships/tags" Target="../tags/tag513.xml"/><Relationship Id="rId7" Type="http://schemas.openxmlformats.org/officeDocument/2006/relationships/tags" Target="../tags/tag517.xml"/><Relationship Id="rId12" Type="http://schemas.openxmlformats.org/officeDocument/2006/relationships/image" Target="../media/image2.emf"/><Relationship Id="rId2" Type="http://schemas.openxmlformats.org/officeDocument/2006/relationships/tags" Target="../tags/tag512.xml"/><Relationship Id="rId1" Type="http://schemas.openxmlformats.org/officeDocument/2006/relationships/tags" Target="../tags/tag511.xml"/><Relationship Id="rId6" Type="http://schemas.openxmlformats.org/officeDocument/2006/relationships/tags" Target="../tags/tag516.xml"/><Relationship Id="rId11" Type="http://schemas.openxmlformats.org/officeDocument/2006/relationships/image" Target="../media/image1.emf"/><Relationship Id="rId5" Type="http://schemas.openxmlformats.org/officeDocument/2006/relationships/tags" Target="../tags/tag515.xml"/><Relationship Id="rId10" Type="http://schemas.openxmlformats.org/officeDocument/2006/relationships/oleObject" Target="../embeddings/oleObject75.bin"/><Relationship Id="rId4" Type="http://schemas.openxmlformats.org/officeDocument/2006/relationships/tags" Target="../tags/tag514.xml"/><Relationship Id="rId9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8" Type="http://schemas.openxmlformats.org/officeDocument/2006/relationships/tags" Target="../tags/tag526.xml"/><Relationship Id="rId3" Type="http://schemas.openxmlformats.org/officeDocument/2006/relationships/tags" Target="../tags/tag521.xml"/><Relationship Id="rId7" Type="http://schemas.openxmlformats.org/officeDocument/2006/relationships/tags" Target="../tags/tag525.xml"/><Relationship Id="rId12" Type="http://schemas.openxmlformats.org/officeDocument/2006/relationships/image" Target="../media/image2.emf"/><Relationship Id="rId2" Type="http://schemas.openxmlformats.org/officeDocument/2006/relationships/tags" Target="../tags/tag520.xml"/><Relationship Id="rId1" Type="http://schemas.openxmlformats.org/officeDocument/2006/relationships/tags" Target="../tags/tag519.xml"/><Relationship Id="rId6" Type="http://schemas.openxmlformats.org/officeDocument/2006/relationships/tags" Target="../tags/tag524.xml"/><Relationship Id="rId11" Type="http://schemas.openxmlformats.org/officeDocument/2006/relationships/image" Target="../media/image7.emf"/><Relationship Id="rId5" Type="http://schemas.openxmlformats.org/officeDocument/2006/relationships/tags" Target="../tags/tag523.xml"/><Relationship Id="rId10" Type="http://schemas.openxmlformats.org/officeDocument/2006/relationships/oleObject" Target="../embeddings/oleObject76.bin"/><Relationship Id="rId4" Type="http://schemas.openxmlformats.org/officeDocument/2006/relationships/tags" Target="../tags/tag522.xml"/><Relationship Id="rId9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8" Type="http://schemas.openxmlformats.org/officeDocument/2006/relationships/tags" Target="../tags/tag534.xml"/><Relationship Id="rId3" Type="http://schemas.openxmlformats.org/officeDocument/2006/relationships/tags" Target="../tags/tag529.xml"/><Relationship Id="rId7" Type="http://schemas.openxmlformats.org/officeDocument/2006/relationships/tags" Target="../tags/tag533.xml"/><Relationship Id="rId12" Type="http://schemas.openxmlformats.org/officeDocument/2006/relationships/image" Target="../media/image2.emf"/><Relationship Id="rId2" Type="http://schemas.openxmlformats.org/officeDocument/2006/relationships/tags" Target="../tags/tag528.xml"/><Relationship Id="rId1" Type="http://schemas.openxmlformats.org/officeDocument/2006/relationships/tags" Target="../tags/tag527.xml"/><Relationship Id="rId6" Type="http://schemas.openxmlformats.org/officeDocument/2006/relationships/tags" Target="../tags/tag532.xml"/><Relationship Id="rId11" Type="http://schemas.openxmlformats.org/officeDocument/2006/relationships/image" Target="../media/image1.emf"/><Relationship Id="rId5" Type="http://schemas.openxmlformats.org/officeDocument/2006/relationships/tags" Target="../tags/tag531.xml"/><Relationship Id="rId10" Type="http://schemas.openxmlformats.org/officeDocument/2006/relationships/oleObject" Target="../embeddings/oleObject77.bin"/><Relationship Id="rId4" Type="http://schemas.openxmlformats.org/officeDocument/2006/relationships/tags" Target="../tags/tag530.xml"/><Relationship Id="rId9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8.bin"/><Relationship Id="rId3" Type="http://schemas.openxmlformats.org/officeDocument/2006/relationships/tags" Target="../tags/tag537.xml"/><Relationship Id="rId7" Type="http://schemas.openxmlformats.org/officeDocument/2006/relationships/slideMaster" Target="../slideMasters/slideMaster9.xml"/><Relationship Id="rId2" Type="http://schemas.openxmlformats.org/officeDocument/2006/relationships/tags" Target="../tags/tag536.xml"/><Relationship Id="rId1" Type="http://schemas.openxmlformats.org/officeDocument/2006/relationships/tags" Target="../tags/tag535.xml"/><Relationship Id="rId6" Type="http://schemas.openxmlformats.org/officeDocument/2006/relationships/tags" Target="../tags/tag540.xml"/><Relationship Id="rId5" Type="http://schemas.openxmlformats.org/officeDocument/2006/relationships/tags" Target="../tags/tag539.xml"/><Relationship Id="rId10" Type="http://schemas.openxmlformats.org/officeDocument/2006/relationships/image" Target="../media/image2.emf"/><Relationship Id="rId4" Type="http://schemas.openxmlformats.org/officeDocument/2006/relationships/tags" Target="../tags/tag538.xml"/><Relationship Id="rId9" Type="http://schemas.openxmlformats.org/officeDocument/2006/relationships/image" Target="../media/image3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tags" Target="../tags/tag543.xml"/><Relationship Id="rId7" Type="http://schemas.openxmlformats.org/officeDocument/2006/relationships/image" Target="../media/image3.emf"/><Relationship Id="rId2" Type="http://schemas.openxmlformats.org/officeDocument/2006/relationships/tags" Target="../tags/tag542.xml"/><Relationship Id="rId1" Type="http://schemas.openxmlformats.org/officeDocument/2006/relationships/tags" Target="../tags/tag541.xml"/><Relationship Id="rId6" Type="http://schemas.openxmlformats.org/officeDocument/2006/relationships/oleObject" Target="../embeddings/oleObject79.bin"/><Relationship Id="rId5" Type="http://schemas.openxmlformats.org/officeDocument/2006/relationships/slideMaster" Target="../slideMasters/slideMaster9.xml"/><Relationship Id="rId4" Type="http://schemas.openxmlformats.org/officeDocument/2006/relationships/tags" Target="../tags/tag544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546.xml"/><Relationship Id="rId1" Type="http://schemas.openxmlformats.org/officeDocument/2006/relationships/tags" Target="../tags/tag545.x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8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64188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1" name="Group 20">
            <a:extLst>
              <a:ext uri="{FF2B5EF4-FFF2-40B4-BE49-F238E27FC236}">
                <a16:creationId xmlns:a16="http://schemas.microsoft.com/office/drawing/2014/main" id="{ABE20079-317D-4FF6-9684-AA9B0F2E05B7}"/>
              </a:ext>
            </a:extLst>
          </p:cNvPr>
          <p:cNvGrpSpPr/>
          <p:nvPr/>
        </p:nvGrpSpPr>
        <p:grpSpPr bwMode="ltGray">
          <a:xfrm>
            <a:off x="-15898" y="-12038"/>
            <a:ext cx="12207898" cy="6870038"/>
            <a:chOff x="-15898" y="-12038"/>
            <a:chExt cx="12207898" cy="6870038"/>
          </a:xfrm>
        </p:grpSpPr>
        <p:pic>
          <p:nvPicPr>
            <p:cNvPr id="22" name="Picture 65" descr="About">
              <a:extLst>
                <a:ext uri="{FF2B5EF4-FFF2-40B4-BE49-F238E27FC236}">
                  <a16:creationId xmlns:a16="http://schemas.microsoft.com/office/drawing/2014/main" id="{957E44BD-EE8D-4695-ABA2-0753259E916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886" r="5521"/>
            <a:stretch/>
          </p:blipFill>
          <p:spPr bwMode="ltGray">
            <a:xfrm>
              <a:off x="-15898" y="0"/>
              <a:ext cx="12207898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1516671B-FB20-4F1D-BBC2-8B2B6B9CFB5B}"/>
                </a:ext>
              </a:extLst>
            </p:cNvPr>
            <p:cNvSpPr/>
            <p:nvPr/>
          </p:nvSpPr>
          <p:spPr bwMode="ltGray">
            <a:xfrm>
              <a:off x="-15898" y="0"/>
              <a:ext cx="12207898" cy="6858000"/>
            </a:xfrm>
            <a:prstGeom prst="rect">
              <a:avLst/>
            </a:prstGeom>
            <a:gradFill flip="none" rotWithShape="1">
              <a:gsLst>
                <a:gs pos="18000">
                  <a:srgbClr val="3F6B39">
                    <a:alpha val="86000"/>
                  </a:srgbClr>
                </a:gs>
                <a:gs pos="100000">
                  <a:srgbClr val="3F6B39">
                    <a:alpha val="35000"/>
                  </a:srgbClr>
                </a:gs>
              </a:gsLst>
              <a:lin ang="0" scaled="1"/>
              <a:tileRect/>
            </a:gradFill>
            <a:ln w="9525" cap="flat" cmpd="sng" algn="ctr">
              <a:solidFill>
                <a:srgbClr val="3F6B39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Group 1">
              <a:extLst>
                <a:ext uri="{FF2B5EF4-FFF2-40B4-BE49-F238E27FC236}">
                  <a16:creationId xmlns:a16="http://schemas.microsoft.com/office/drawing/2014/main" id="{BEA29757-EEB9-441E-8E05-A7FC79B582B0}"/>
                </a:ext>
              </a:extLst>
            </p:cNvPr>
            <p:cNvSpPr>
              <a:spLocks/>
            </p:cNvSpPr>
            <p:nvPr/>
          </p:nvSpPr>
          <p:spPr bwMode="ltGray">
            <a:xfrm>
              <a:off x="4591537" y="0"/>
              <a:ext cx="2363578" cy="1100931"/>
            </a:xfrm>
            <a:custGeom>
              <a:avLst/>
              <a:gdLst>
                <a:gd name="connsiteX0" fmla="*/ 0 w 2363578"/>
                <a:gd name="connsiteY0" fmla="*/ 0 h 1100931"/>
                <a:gd name="connsiteX1" fmla="*/ 1853488 w 2363578"/>
                <a:gd name="connsiteY1" fmla="*/ 0 h 1100931"/>
                <a:gd name="connsiteX2" fmla="*/ 2363578 w 2363578"/>
                <a:gd name="connsiteY2" fmla="*/ 1100931 h 1100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3578" h="1100931">
                  <a:moveTo>
                    <a:pt x="0" y="0"/>
                  </a:moveTo>
                  <a:lnTo>
                    <a:pt x="1853488" y="0"/>
                  </a:lnTo>
                  <a:lnTo>
                    <a:pt x="2363578" y="1100931"/>
                  </a:lnTo>
                  <a:close/>
                </a:path>
              </a:pathLst>
            </a:custGeom>
            <a:solidFill>
              <a:srgbClr val="FFFFFF">
                <a:alpha val="36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Freeform 34">
              <a:extLst>
                <a:ext uri="{FF2B5EF4-FFF2-40B4-BE49-F238E27FC236}">
                  <a16:creationId xmlns:a16="http://schemas.microsoft.com/office/drawing/2014/main" id="{AED4654A-20C8-4FAF-86B1-666B50010C77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7057081" y="0"/>
              <a:ext cx="3369896" cy="1569243"/>
            </a:xfrm>
            <a:custGeom>
              <a:avLst/>
              <a:gdLst>
                <a:gd name="connsiteX0" fmla="*/ 0 w 3369896"/>
                <a:gd name="connsiteY0" fmla="*/ 0 h 1569243"/>
                <a:gd name="connsiteX1" fmla="*/ 2638619 w 3369896"/>
                <a:gd name="connsiteY1" fmla="*/ 0 h 1569243"/>
                <a:gd name="connsiteX2" fmla="*/ 3369896 w 3369896"/>
                <a:gd name="connsiteY2" fmla="*/ 1569243 h 156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9896" h="1569243">
                  <a:moveTo>
                    <a:pt x="0" y="0"/>
                  </a:moveTo>
                  <a:lnTo>
                    <a:pt x="2638619" y="0"/>
                  </a:lnTo>
                  <a:lnTo>
                    <a:pt x="3369896" y="1569243"/>
                  </a:lnTo>
                  <a:close/>
                </a:path>
              </a:pathLst>
            </a:custGeom>
            <a:solidFill>
              <a:srgbClr val="FFD100">
                <a:alpha val="49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" name="Freeform 35">
              <a:extLst>
                <a:ext uri="{FF2B5EF4-FFF2-40B4-BE49-F238E27FC236}">
                  <a16:creationId xmlns:a16="http://schemas.microsoft.com/office/drawing/2014/main" id="{4E5FF1D3-8BF9-472B-BD24-2F2AFB803D13}"/>
                </a:ext>
              </a:extLst>
            </p:cNvPr>
            <p:cNvSpPr>
              <a:spLocks/>
            </p:cNvSpPr>
            <p:nvPr/>
          </p:nvSpPr>
          <p:spPr bwMode="ltGray">
            <a:xfrm>
              <a:off x="9696133" y="1"/>
              <a:ext cx="2495867" cy="2390792"/>
            </a:xfrm>
            <a:custGeom>
              <a:avLst/>
              <a:gdLst>
                <a:gd name="connsiteX0" fmla="*/ 0 w 2495867"/>
                <a:gd name="connsiteY0" fmla="*/ 0 h 2390792"/>
                <a:gd name="connsiteX1" fmla="*/ 2495867 w 2495867"/>
                <a:gd name="connsiteY1" fmla="*/ 0 h 2390792"/>
                <a:gd name="connsiteX2" fmla="*/ 2495867 w 2495867"/>
                <a:gd name="connsiteY2" fmla="*/ 2390792 h 2390792"/>
                <a:gd name="connsiteX3" fmla="*/ 731462 w 2495867"/>
                <a:gd name="connsiteY3" fmla="*/ 1569401 h 239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5867" h="2390792">
                  <a:moveTo>
                    <a:pt x="0" y="0"/>
                  </a:moveTo>
                  <a:lnTo>
                    <a:pt x="2495867" y="0"/>
                  </a:lnTo>
                  <a:lnTo>
                    <a:pt x="2495867" y="2390792"/>
                  </a:lnTo>
                  <a:lnTo>
                    <a:pt x="731462" y="1569401"/>
                  </a:lnTo>
                  <a:close/>
                </a:path>
              </a:pathLst>
            </a:custGeom>
            <a:solidFill>
              <a:srgbClr val="5D9E54">
                <a:alpha val="58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" name="doc id">
              <a:extLst>
                <a:ext uri="{FF2B5EF4-FFF2-40B4-BE49-F238E27FC236}">
                  <a16:creationId xmlns:a16="http://schemas.microsoft.com/office/drawing/2014/main" id="{D32DC00C-C6B9-4638-A668-8F4F2A907D3B}"/>
                </a:ext>
              </a:extLst>
            </p:cNvPr>
            <p:cNvSpPr>
              <a:spLocks noChangeArrowheads="1"/>
            </p:cNvSpPr>
            <p:nvPr/>
          </p:nvSpPr>
          <p:spPr bwMode="ltGray">
            <a:xfrm>
              <a:off x="11064591" y="51833"/>
              <a:ext cx="894152" cy="1247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marL="0" marR="0" lvl="0" indent="0" algn="r" defTabSz="9135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16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F80159D0-6749-4DB5-9263-0C2BD85849B0}"/>
                </a:ext>
              </a:extLst>
            </p:cNvPr>
            <p:cNvSpPr>
              <a:spLocks/>
            </p:cNvSpPr>
            <p:nvPr/>
          </p:nvSpPr>
          <p:spPr bwMode="ltGray">
            <a:xfrm>
              <a:off x="10427596" y="1569403"/>
              <a:ext cx="1764404" cy="3834145"/>
            </a:xfrm>
            <a:custGeom>
              <a:avLst/>
              <a:gdLst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519830 w 2519830"/>
                <a:gd name="connsiteY2" fmla="*/ 1 h 5403547"/>
                <a:gd name="connsiteX3" fmla="*/ 23964 w 2519830"/>
                <a:gd name="connsiteY3" fmla="*/ 1 h 5403547"/>
                <a:gd name="connsiteX4" fmla="*/ 755426 w 2519830"/>
                <a:gd name="connsiteY4" fmla="*/ 1569402 h 5403547"/>
                <a:gd name="connsiteX5" fmla="*/ 2519830 w 2519830"/>
                <a:gd name="connsiteY5" fmla="*/ 2390793 h 5403547"/>
                <a:gd name="connsiteX6" fmla="*/ 2519830 w 2519830"/>
                <a:gd name="connsiteY6" fmla="*/ 5403547 h 5403547"/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3964 w 2519830"/>
                <a:gd name="connsiteY2" fmla="*/ 1 h 5403547"/>
                <a:gd name="connsiteX3" fmla="*/ 755426 w 2519830"/>
                <a:gd name="connsiteY3" fmla="*/ 1569402 h 5403547"/>
                <a:gd name="connsiteX4" fmla="*/ 2519830 w 2519830"/>
                <a:gd name="connsiteY4" fmla="*/ 2390793 h 5403547"/>
                <a:gd name="connsiteX5" fmla="*/ 2519830 w 2519830"/>
                <a:gd name="connsiteY5" fmla="*/ 5403547 h 5403547"/>
                <a:gd name="connsiteX6" fmla="*/ 0 w 2519830"/>
                <a:gd name="connsiteY6" fmla="*/ 0 h 5403547"/>
                <a:gd name="connsiteX0" fmla="*/ 0 w 2519830"/>
                <a:gd name="connsiteY0" fmla="*/ 0 h 5403547"/>
                <a:gd name="connsiteX1" fmla="*/ 23964 w 2519830"/>
                <a:gd name="connsiteY1" fmla="*/ 1 h 5403547"/>
                <a:gd name="connsiteX2" fmla="*/ 755426 w 2519830"/>
                <a:gd name="connsiteY2" fmla="*/ 1569402 h 5403547"/>
                <a:gd name="connsiteX3" fmla="*/ 2519830 w 2519830"/>
                <a:gd name="connsiteY3" fmla="*/ 2390793 h 5403547"/>
                <a:gd name="connsiteX4" fmla="*/ 2519830 w 2519830"/>
                <a:gd name="connsiteY4" fmla="*/ 5403547 h 5403547"/>
                <a:gd name="connsiteX5" fmla="*/ 0 w 2519830"/>
                <a:gd name="connsiteY5" fmla="*/ 0 h 5403547"/>
                <a:gd name="connsiteX0" fmla="*/ 2495866 w 2495866"/>
                <a:gd name="connsiteY0" fmla="*/ 5403546 h 5403546"/>
                <a:gd name="connsiteX1" fmla="*/ 0 w 2495866"/>
                <a:gd name="connsiteY1" fmla="*/ 0 h 5403546"/>
                <a:gd name="connsiteX2" fmla="*/ 731462 w 2495866"/>
                <a:gd name="connsiteY2" fmla="*/ 1569401 h 5403546"/>
                <a:gd name="connsiteX3" fmla="*/ 2495866 w 2495866"/>
                <a:gd name="connsiteY3" fmla="*/ 2390792 h 5403546"/>
                <a:gd name="connsiteX4" fmla="*/ 2495866 w 2495866"/>
                <a:gd name="connsiteY4" fmla="*/ 5403546 h 5403546"/>
                <a:gd name="connsiteX0" fmla="*/ 1764404 w 1764404"/>
                <a:gd name="connsiteY0" fmla="*/ 3834145 h 3834145"/>
                <a:gd name="connsiteX1" fmla="*/ 0 w 1764404"/>
                <a:gd name="connsiteY1" fmla="*/ 0 h 3834145"/>
                <a:gd name="connsiteX2" fmla="*/ 1764404 w 1764404"/>
                <a:gd name="connsiteY2" fmla="*/ 821391 h 3834145"/>
                <a:gd name="connsiteX3" fmla="*/ 1764404 w 1764404"/>
                <a:gd name="connsiteY3" fmla="*/ 3834145 h 3834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64404" h="3834145">
                  <a:moveTo>
                    <a:pt x="1764404" y="3834145"/>
                  </a:moveTo>
                  <a:lnTo>
                    <a:pt x="0" y="0"/>
                  </a:lnTo>
                  <a:lnTo>
                    <a:pt x="1764404" y="821391"/>
                  </a:lnTo>
                  <a:lnTo>
                    <a:pt x="1764404" y="3834145"/>
                  </a:lnTo>
                  <a:close/>
                </a:path>
              </a:pathLst>
            </a:custGeom>
            <a:solidFill>
              <a:srgbClr val="FFD100">
                <a:alpha val="49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29" name="Picture 12">
              <a:extLst>
                <a:ext uri="{FF2B5EF4-FFF2-40B4-BE49-F238E27FC236}">
                  <a16:creationId xmlns:a16="http://schemas.microsoft.com/office/drawing/2014/main" id="{59BA4928-D1F4-4469-8793-2852B2E49AE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 bwMode="ltGray">
            <a:xfrm>
              <a:off x="611441" y="542924"/>
              <a:ext cx="2688569" cy="841321"/>
            </a:xfrm>
            <a:prstGeom prst="rect">
              <a:avLst/>
            </a:prstGeom>
          </p:spPr>
        </p:pic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E4F280B4-D75B-46AB-A268-90910F535ED6}"/>
                </a:ext>
              </a:extLst>
            </p:cNvPr>
            <p:cNvSpPr>
              <a:spLocks/>
            </p:cNvSpPr>
            <p:nvPr/>
          </p:nvSpPr>
          <p:spPr bwMode="ltGray">
            <a:xfrm>
              <a:off x="6443063" y="-12038"/>
              <a:ext cx="5474706" cy="4825984"/>
            </a:xfrm>
            <a:custGeom>
              <a:avLst/>
              <a:gdLst>
                <a:gd name="connsiteX0" fmla="*/ 0 w 5474706"/>
                <a:gd name="connsiteY0" fmla="*/ 0 h 4825984"/>
                <a:gd name="connsiteX1" fmla="*/ 610810 w 5474706"/>
                <a:gd name="connsiteY1" fmla="*/ 0 h 4825984"/>
                <a:gd name="connsiteX2" fmla="*/ 3981656 w 5474706"/>
                <a:gd name="connsiteY2" fmla="*/ 1569869 h 4825984"/>
                <a:gd name="connsiteX3" fmla="*/ 3982923 w 5474706"/>
                <a:gd name="connsiteY3" fmla="*/ 1572586 h 4825984"/>
                <a:gd name="connsiteX4" fmla="*/ 3976086 w 5474706"/>
                <a:gd name="connsiteY4" fmla="*/ 1569403 h 4825984"/>
                <a:gd name="connsiteX5" fmla="*/ 5474706 w 5474706"/>
                <a:gd name="connsiteY5" fmla="*/ 4825984 h 4825984"/>
                <a:gd name="connsiteX6" fmla="*/ 1349206 w 5474706"/>
                <a:gd name="connsiteY6" fmla="*/ 2911232 h 4825984"/>
                <a:gd name="connsiteX7" fmla="*/ 510415 w 5474706"/>
                <a:gd name="connsiteY7" fmla="*/ 1101566 h 4825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474706" h="4825984">
                  <a:moveTo>
                    <a:pt x="0" y="0"/>
                  </a:moveTo>
                  <a:lnTo>
                    <a:pt x="610810" y="0"/>
                  </a:lnTo>
                  <a:lnTo>
                    <a:pt x="3981656" y="1569869"/>
                  </a:lnTo>
                  <a:lnTo>
                    <a:pt x="3982923" y="1572586"/>
                  </a:lnTo>
                  <a:lnTo>
                    <a:pt x="3976086" y="1569403"/>
                  </a:lnTo>
                  <a:lnTo>
                    <a:pt x="5474706" y="4825984"/>
                  </a:lnTo>
                  <a:lnTo>
                    <a:pt x="1349206" y="2911232"/>
                  </a:lnTo>
                  <a:lnTo>
                    <a:pt x="510415" y="1101566"/>
                  </a:lnTo>
                  <a:close/>
                </a:path>
              </a:pathLst>
            </a:custGeom>
            <a:solidFill>
              <a:srgbClr val="5D9E54">
                <a:alpha val="58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6192267"/>
            <a:ext cx="683583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1" y="5774658"/>
            <a:ext cx="683583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2" y="2210324"/>
            <a:ext cx="6835830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AB0CD9-1BA9-EDB1-4A11-C080FA1DF1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2764188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92" imgH="591" progId="TCLayout.ActiveDocument.1">
                  <p:embed/>
                </p:oleObj>
              </mc:Choice>
              <mc:Fallback>
                <p:oleObj name="think-cell Slide" r:id="rId1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AB0CD9-1BA9-EDB1-4A11-C080FA1DF1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8E58E711-6B1A-A4EE-E2D3-C799159CDD51}"/>
              </a:ext>
            </a:extLst>
          </p:cNvPr>
          <p:cNvGrpSpPr/>
          <p:nvPr userDrawn="1"/>
        </p:nvGrpSpPr>
        <p:grpSpPr bwMode="ltGray">
          <a:xfrm>
            <a:off x="-15898" y="-12038"/>
            <a:ext cx="12207898" cy="6870038"/>
            <a:chOff x="-15898" y="-12038"/>
            <a:chExt cx="12207898" cy="6870038"/>
          </a:xfrm>
        </p:grpSpPr>
        <p:pic>
          <p:nvPicPr>
            <p:cNvPr id="5" name="Picture 65" descr="About">
              <a:extLst>
                <a:ext uri="{FF2B5EF4-FFF2-40B4-BE49-F238E27FC236}">
                  <a16:creationId xmlns:a16="http://schemas.microsoft.com/office/drawing/2014/main" id="{39638C46-CEE4-DDFA-19AC-84AD1A43677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886" r="5521"/>
            <a:stretch/>
          </p:blipFill>
          <p:spPr bwMode="ltGray">
            <a:xfrm>
              <a:off x="-15898" y="0"/>
              <a:ext cx="12207898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E065A19-3D68-82C7-21F4-D09B8F4E36D3}"/>
                </a:ext>
              </a:extLst>
            </p:cNvPr>
            <p:cNvSpPr/>
            <p:nvPr/>
          </p:nvSpPr>
          <p:spPr bwMode="ltGray">
            <a:xfrm>
              <a:off x="-15898" y="0"/>
              <a:ext cx="12207898" cy="6858000"/>
            </a:xfrm>
            <a:prstGeom prst="rect">
              <a:avLst/>
            </a:prstGeom>
            <a:gradFill flip="none" rotWithShape="1">
              <a:gsLst>
                <a:gs pos="18000">
                  <a:srgbClr val="3F6B39">
                    <a:alpha val="86000"/>
                  </a:srgbClr>
                </a:gs>
                <a:gs pos="100000">
                  <a:srgbClr val="3F6B39">
                    <a:alpha val="35000"/>
                  </a:srgbClr>
                </a:gs>
              </a:gsLst>
              <a:lin ang="0" scaled="1"/>
              <a:tileRect/>
            </a:gradFill>
            <a:ln w="9525" cap="flat" cmpd="sng" algn="ctr">
              <a:solidFill>
                <a:srgbClr val="3F6B39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Group 1">
              <a:extLst>
                <a:ext uri="{FF2B5EF4-FFF2-40B4-BE49-F238E27FC236}">
                  <a16:creationId xmlns:a16="http://schemas.microsoft.com/office/drawing/2014/main" id="{C90B576D-2FB6-20CB-8320-2D5FE8639A90}"/>
                </a:ext>
              </a:extLst>
            </p:cNvPr>
            <p:cNvSpPr>
              <a:spLocks/>
            </p:cNvSpPr>
            <p:nvPr/>
          </p:nvSpPr>
          <p:spPr bwMode="ltGray">
            <a:xfrm>
              <a:off x="4591537" y="0"/>
              <a:ext cx="2363578" cy="1100931"/>
            </a:xfrm>
            <a:custGeom>
              <a:avLst/>
              <a:gdLst>
                <a:gd name="connsiteX0" fmla="*/ 0 w 2363578"/>
                <a:gd name="connsiteY0" fmla="*/ 0 h 1100931"/>
                <a:gd name="connsiteX1" fmla="*/ 1853488 w 2363578"/>
                <a:gd name="connsiteY1" fmla="*/ 0 h 1100931"/>
                <a:gd name="connsiteX2" fmla="*/ 2363578 w 2363578"/>
                <a:gd name="connsiteY2" fmla="*/ 1100931 h 1100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3578" h="1100931">
                  <a:moveTo>
                    <a:pt x="0" y="0"/>
                  </a:moveTo>
                  <a:lnTo>
                    <a:pt x="1853488" y="0"/>
                  </a:lnTo>
                  <a:lnTo>
                    <a:pt x="2363578" y="1100931"/>
                  </a:lnTo>
                  <a:close/>
                </a:path>
              </a:pathLst>
            </a:custGeom>
            <a:solidFill>
              <a:srgbClr val="FFFFFF">
                <a:alpha val="36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9" name="Freeform 34">
              <a:extLst>
                <a:ext uri="{FF2B5EF4-FFF2-40B4-BE49-F238E27FC236}">
                  <a16:creationId xmlns:a16="http://schemas.microsoft.com/office/drawing/2014/main" id="{8A49AE16-D8A4-3006-BAF3-E7EBDAAB51B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7057081" y="0"/>
              <a:ext cx="3369896" cy="1569243"/>
            </a:xfrm>
            <a:custGeom>
              <a:avLst/>
              <a:gdLst>
                <a:gd name="connsiteX0" fmla="*/ 0 w 3369896"/>
                <a:gd name="connsiteY0" fmla="*/ 0 h 1569243"/>
                <a:gd name="connsiteX1" fmla="*/ 2638619 w 3369896"/>
                <a:gd name="connsiteY1" fmla="*/ 0 h 1569243"/>
                <a:gd name="connsiteX2" fmla="*/ 3369896 w 3369896"/>
                <a:gd name="connsiteY2" fmla="*/ 1569243 h 156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9896" h="1569243">
                  <a:moveTo>
                    <a:pt x="0" y="0"/>
                  </a:moveTo>
                  <a:lnTo>
                    <a:pt x="2638619" y="0"/>
                  </a:lnTo>
                  <a:lnTo>
                    <a:pt x="3369896" y="1569243"/>
                  </a:lnTo>
                  <a:close/>
                </a:path>
              </a:pathLst>
            </a:custGeom>
            <a:solidFill>
              <a:srgbClr val="FFD100">
                <a:alpha val="49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Freeform 35">
              <a:extLst>
                <a:ext uri="{FF2B5EF4-FFF2-40B4-BE49-F238E27FC236}">
                  <a16:creationId xmlns:a16="http://schemas.microsoft.com/office/drawing/2014/main" id="{69533352-BF86-346F-5B6C-7A747A17BC73}"/>
                </a:ext>
              </a:extLst>
            </p:cNvPr>
            <p:cNvSpPr>
              <a:spLocks/>
            </p:cNvSpPr>
            <p:nvPr/>
          </p:nvSpPr>
          <p:spPr bwMode="ltGray">
            <a:xfrm>
              <a:off x="9696133" y="1"/>
              <a:ext cx="2495867" cy="2390792"/>
            </a:xfrm>
            <a:custGeom>
              <a:avLst/>
              <a:gdLst>
                <a:gd name="connsiteX0" fmla="*/ 0 w 2495867"/>
                <a:gd name="connsiteY0" fmla="*/ 0 h 2390792"/>
                <a:gd name="connsiteX1" fmla="*/ 2495867 w 2495867"/>
                <a:gd name="connsiteY1" fmla="*/ 0 h 2390792"/>
                <a:gd name="connsiteX2" fmla="*/ 2495867 w 2495867"/>
                <a:gd name="connsiteY2" fmla="*/ 2390792 h 2390792"/>
                <a:gd name="connsiteX3" fmla="*/ 731462 w 2495867"/>
                <a:gd name="connsiteY3" fmla="*/ 1569401 h 239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5867" h="2390792">
                  <a:moveTo>
                    <a:pt x="0" y="0"/>
                  </a:moveTo>
                  <a:lnTo>
                    <a:pt x="2495867" y="0"/>
                  </a:lnTo>
                  <a:lnTo>
                    <a:pt x="2495867" y="2390792"/>
                  </a:lnTo>
                  <a:lnTo>
                    <a:pt x="731462" y="1569401"/>
                  </a:lnTo>
                  <a:close/>
                </a:path>
              </a:pathLst>
            </a:custGeom>
            <a:solidFill>
              <a:srgbClr val="5D9E54">
                <a:alpha val="58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doc id">
              <a:extLst>
                <a:ext uri="{FF2B5EF4-FFF2-40B4-BE49-F238E27FC236}">
                  <a16:creationId xmlns:a16="http://schemas.microsoft.com/office/drawing/2014/main" id="{25775342-417E-83AE-F867-1336A03898EB}"/>
                </a:ext>
              </a:extLst>
            </p:cNvPr>
            <p:cNvSpPr>
              <a:spLocks noChangeArrowheads="1"/>
            </p:cNvSpPr>
            <p:nvPr/>
          </p:nvSpPr>
          <p:spPr bwMode="ltGray">
            <a:xfrm>
              <a:off x="11064591" y="51833"/>
              <a:ext cx="894152" cy="1247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marL="0" marR="0" lvl="0" indent="0" algn="r" defTabSz="9135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16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CE562F68-D570-4CA4-D906-B2DC50C8C045}"/>
                </a:ext>
              </a:extLst>
            </p:cNvPr>
            <p:cNvSpPr>
              <a:spLocks/>
            </p:cNvSpPr>
            <p:nvPr/>
          </p:nvSpPr>
          <p:spPr bwMode="ltGray">
            <a:xfrm>
              <a:off x="10427596" y="1569403"/>
              <a:ext cx="1764404" cy="3834145"/>
            </a:xfrm>
            <a:custGeom>
              <a:avLst/>
              <a:gdLst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519830 w 2519830"/>
                <a:gd name="connsiteY2" fmla="*/ 1 h 5403547"/>
                <a:gd name="connsiteX3" fmla="*/ 23964 w 2519830"/>
                <a:gd name="connsiteY3" fmla="*/ 1 h 5403547"/>
                <a:gd name="connsiteX4" fmla="*/ 755426 w 2519830"/>
                <a:gd name="connsiteY4" fmla="*/ 1569402 h 5403547"/>
                <a:gd name="connsiteX5" fmla="*/ 2519830 w 2519830"/>
                <a:gd name="connsiteY5" fmla="*/ 2390793 h 5403547"/>
                <a:gd name="connsiteX6" fmla="*/ 2519830 w 2519830"/>
                <a:gd name="connsiteY6" fmla="*/ 5403547 h 5403547"/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3964 w 2519830"/>
                <a:gd name="connsiteY2" fmla="*/ 1 h 5403547"/>
                <a:gd name="connsiteX3" fmla="*/ 755426 w 2519830"/>
                <a:gd name="connsiteY3" fmla="*/ 1569402 h 5403547"/>
                <a:gd name="connsiteX4" fmla="*/ 2519830 w 2519830"/>
                <a:gd name="connsiteY4" fmla="*/ 2390793 h 5403547"/>
                <a:gd name="connsiteX5" fmla="*/ 2519830 w 2519830"/>
                <a:gd name="connsiteY5" fmla="*/ 5403547 h 5403547"/>
                <a:gd name="connsiteX6" fmla="*/ 0 w 2519830"/>
                <a:gd name="connsiteY6" fmla="*/ 0 h 5403547"/>
                <a:gd name="connsiteX0" fmla="*/ 0 w 2519830"/>
                <a:gd name="connsiteY0" fmla="*/ 0 h 5403547"/>
                <a:gd name="connsiteX1" fmla="*/ 23964 w 2519830"/>
                <a:gd name="connsiteY1" fmla="*/ 1 h 5403547"/>
                <a:gd name="connsiteX2" fmla="*/ 755426 w 2519830"/>
                <a:gd name="connsiteY2" fmla="*/ 1569402 h 5403547"/>
                <a:gd name="connsiteX3" fmla="*/ 2519830 w 2519830"/>
                <a:gd name="connsiteY3" fmla="*/ 2390793 h 5403547"/>
                <a:gd name="connsiteX4" fmla="*/ 2519830 w 2519830"/>
                <a:gd name="connsiteY4" fmla="*/ 5403547 h 5403547"/>
                <a:gd name="connsiteX5" fmla="*/ 0 w 2519830"/>
                <a:gd name="connsiteY5" fmla="*/ 0 h 5403547"/>
                <a:gd name="connsiteX0" fmla="*/ 2495866 w 2495866"/>
                <a:gd name="connsiteY0" fmla="*/ 5403546 h 5403546"/>
                <a:gd name="connsiteX1" fmla="*/ 0 w 2495866"/>
                <a:gd name="connsiteY1" fmla="*/ 0 h 5403546"/>
                <a:gd name="connsiteX2" fmla="*/ 731462 w 2495866"/>
                <a:gd name="connsiteY2" fmla="*/ 1569401 h 5403546"/>
                <a:gd name="connsiteX3" fmla="*/ 2495866 w 2495866"/>
                <a:gd name="connsiteY3" fmla="*/ 2390792 h 5403546"/>
                <a:gd name="connsiteX4" fmla="*/ 2495866 w 2495866"/>
                <a:gd name="connsiteY4" fmla="*/ 5403546 h 5403546"/>
                <a:gd name="connsiteX0" fmla="*/ 1764404 w 1764404"/>
                <a:gd name="connsiteY0" fmla="*/ 3834145 h 3834145"/>
                <a:gd name="connsiteX1" fmla="*/ 0 w 1764404"/>
                <a:gd name="connsiteY1" fmla="*/ 0 h 3834145"/>
                <a:gd name="connsiteX2" fmla="*/ 1764404 w 1764404"/>
                <a:gd name="connsiteY2" fmla="*/ 821391 h 3834145"/>
                <a:gd name="connsiteX3" fmla="*/ 1764404 w 1764404"/>
                <a:gd name="connsiteY3" fmla="*/ 3834145 h 3834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64404" h="3834145">
                  <a:moveTo>
                    <a:pt x="1764404" y="3834145"/>
                  </a:moveTo>
                  <a:lnTo>
                    <a:pt x="0" y="0"/>
                  </a:lnTo>
                  <a:lnTo>
                    <a:pt x="1764404" y="821391"/>
                  </a:lnTo>
                  <a:lnTo>
                    <a:pt x="1764404" y="3834145"/>
                  </a:lnTo>
                  <a:close/>
                </a:path>
              </a:pathLst>
            </a:custGeom>
            <a:solidFill>
              <a:srgbClr val="FFD100">
                <a:alpha val="49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43F07E6A-EA10-8C4D-90C9-836A9EA4321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 bwMode="ltGray">
            <a:xfrm>
              <a:off x="611441" y="542924"/>
              <a:ext cx="2688569" cy="841321"/>
            </a:xfrm>
            <a:prstGeom prst="rect">
              <a:avLst/>
            </a:prstGeom>
          </p:spPr>
        </p:pic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945212F-1B29-DA1E-BB6C-ACBFC42B1273}"/>
                </a:ext>
              </a:extLst>
            </p:cNvPr>
            <p:cNvSpPr>
              <a:spLocks/>
            </p:cNvSpPr>
            <p:nvPr/>
          </p:nvSpPr>
          <p:spPr bwMode="ltGray">
            <a:xfrm>
              <a:off x="6443063" y="-12038"/>
              <a:ext cx="5474706" cy="4825984"/>
            </a:xfrm>
            <a:custGeom>
              <a:avLst/>
              <a:gdLst>
                <a:gd name="connsiteX0" fmla="*/ 0 w 5474706"/>
                <a:gd name="connsiteY0" fmla="*/ 0 h 4825984"/>
                <a:gd name="connsiteX1" fmla="*/ 610810 w 5474706"/>
                <a:gd name="connsiteY1" fmla="*/ 0 h 4825984"/>
                <a:gd name="connsiteX2" fmla="*/ 3981656 w 5474706"/>
                <a:gd name="connsiteY2" fmla="*/ 1569869 h 4825984"/>
                <a:gd name="connsiteX3" fmla="*/ 3982923 w 5474706"/>
                <a:gd name="connsiteY3" fmla="*/ 1572586 h 4825984"/>
                <a:gd name="connsiteX4" fmla="*/ 3976086 w 5474706"/>
                <a:gd name="connsiteY4" fmla="*/ 1569403 h 4825984"/>
                <a:gd name="connsiteX5" fmla="*/ 5474706 w 5474706"/>
                <a:gd name="connsiteY5" fmla="*/ 4825984 h 4825984"/>
                <a:gd name="connsiteX6" fmla="*/ 1349206 w 5474706"/>
                <a:gd name="connsiteY6" fmla="*/ 2911232 h 4825984"/>
                <a:gd name="connsiteX7" fmla="*/ 510415 w 5474706"/>
                <a:gd name="connsiteY7" fmla="*/ 1101566 h 4825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474706" h="4825984">
                  <a:moveTo>
                    <a:pt x="0" y="0"/>
                  </a:moveTo>
                  <a:lnTo>
                    <a:pt x="610810" y="0"/>
                  </a:lnTo>
                  <a:lnTo>
                    <a:pt x="3981656" y="1569869"/>
                  </a:lnTo>
                  <a:lnTo>
                    <a:pt x="3982923" y="1572586"/>
                  </a:lnTo>
                  <a:lnTo>
                    <a:pt x="3976086" y="1569403"/>
                  </a:lnTo>
                  <a:lnTo>
                    <a:pt x="5474706" y="4825984"/>
                  </a:lnTo>
                  <a:lnTo>
                    <a:pt x="1349206" y="2911232"/>
                  </a:lnTo>
                  <a:lnTo>
                    <a:pt x="510415" y="1101566"/>
                  </a:lnTo>
                  <a:close/>
                </a:path>
              </a:pathLst>
            </a:custGeom>
            <a:solidFill>
              <a:srgbClr val="5D9E54">
                <a:alpha val="58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9628204E-9659-C3ED-0BAC-90A8166C265D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767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7410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384721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19250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6" y="6477661"/>
            <a:ext cx="6967729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4169A25B-A5F4-4C97-8540-ED9CC98F969D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6CD6A66-48C6-4BD2-B9B9-41E1EE0976B5}"/>
              </a:ext>
            </a:extLst>
          </p:cNvPr>
          <p:cNvPicPr>
            <a:picLocks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584169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91290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7918704" cy="384721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19250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u="none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noProof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43CC0EF8-D168-4C66-AFFD-37DF3A91198C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05B57B7-BC67-458E-B7B0-A0429154B7BF}"/>
              </a:ext>
            </a:extLst>
          </p:cNvPr>
          <p:cNvPicPr>
            <a:picLocks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388236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4619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989512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856B0F7-D900-4CD7-9173-6BCAEC340F03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03A2897-8F59-42BD-B6DD-251E725B958D}"/>
              </a:ext>
            </a:extLst>
          </p:cNvPr>
          <p:cNvPicPr>
            <a:picLocks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357F0324-A612-4AAB-9DC4-C7A748AF3DB1}"/>
              </a:ext>
            </a:extLst>
          </p:cNvPr>
          <p:cNvGrpSpPr/>
          <p:nvPr/>
        </p:nvGrpSpPr>
        <p:grpSpPr>
          <a:xfrm>
            <a:off x="554736" y="6368464"/>
            <a:ext cx="11082528" cy="54693"/>
            <a:chOff x="554736" y="6349068"/>
            <a:chExt cx="11082528" cy="54693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198DE8D2-0E24-4923-8389-7500828D14BF}"/>
                </a:ext>
              </a:extLst>
            </p:cNvPr>
            <p:cNvCxnSpPr/>
            <p:nvPr userDrawn="1"/>
          </p:nvCxnSpPr>
          <p:spPr bwMode="ltGray">
            <a:xfrm flipV="1">
              <a:off x="554741" y="6349072"/>
              <a:ext cx="11082523" cy="17939"/>
            </a:xfrm>
            <a:prstGeom prst="line">
              <a:avLst/>
            </a:prstGeom>
            <a:noFill/>
            <a:ln w="6350" cap="flat" cmpd="sng" algn="ctr">
              <a:solidFill>
                <a:srgbClr val="A5A5A5"/>
              </a:solidFill>
              <a:prstDash val="solid"/>
              <a:miter lim="800000"/>
            </a:ln>
            <a:effectLst/>
          </p:spPr>
        </p:cxn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273C7CF2-784C-4329-9D05-25ECFF334BBF}"/>
                </a:ext>
              </a:extLst>
            </p:cNvPr>
            <p:cNvSpPr/>
            <p:nvPr userDrawn="1"/>
          </p:nvSpPr>
          <p:spPr bwMode="ltGray">
            <a:xfrm>
              <a:off x="554736" y="6358042"/>
              <a:ext cx="2797733" cy="45719"/>
            </a:xfrm>
            <a:prstGeom prst="rect">
              <a:avLst/>
            </a:prstGeom>
            <a:solidFill>
              <a:srgbClr val="000000">
                <a:lumMod val="65000"/>
                <a:lumOff val="3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5909122C-351C-4F9A-98FA-AB182939F686}"/>
                </a:ext>
              </a:extLst>
            </p:cNvPr>
            <p:cNvSpPr/>
            <p:nvPr userDrawn="1"/>
          </p:nvSpPr>
          <p:spPr bwMode="ltGray">
            <a:xfrm>
              <a:off x="10671243" y="6349068"/>
              <a:ext cx="966017" cy="54688"/>
            </a:xfrm>
            <a:prstGeom prst="rect">
              <a:avLst/>
            </a:prstGeom>
            <a:solidFill>
              <a:srgbClr val="000000">
                <a:lumMod val="65000"/>
                <a:lumOff val="3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004848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9640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B185D4E6-1D08-404B-9627-E173C227EB7A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467597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8931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87C41EC-7993-4253-98D7-CA91944B2598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2598057" y="3103027"/>
            <a:ext cx="6995886" cy="651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36423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00" b="0" i="0">
                <a:solidFill>
                  <a:srgbClr val="87C58F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65CC27-0034-43C2-8E21-5A68676B54BF}" type="datetime1">
              <a:rPr lang="en-US" smtClean="0"/>
              <a:t>11/6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BEBEBE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20"/>
              <a:t>Page </a:t>
            </a:r>
            <a:r>
              <a:rPr spc="-30"/>
              <a:t>|</a:t>
            </a:r>
            <a:r>
              <a:rPr spc="150"/>
              <a:t> </a:t>
            </a:r>
            <a:fld id="{81D60167-4931-47E6-BA6A-407CBD079E47}" type="slidenum">
              <a:rPr spc="-30" dirty="0"/>
              <a:t>‹#›</a:t>
            </a:fld>
            <a:endParaRPr spc="-30"/>
          </a:p>
        </p:txBody>
      </p:sp>
    </p:spTree>
    <p:extLst>
      <p:ext uri="{BB962C8B-B14F-4D97-AF65-F5344CB8AC3E}">
        <p14:creationId xmlns:p14="http://schemas.microsoft.com/office/powerpoint/2010/main" val="9908139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7626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132483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64188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1" name="Group 20">
            <a:extLst>
              <a:ext uri="{FF2B5EF4-FFF2-40B4-BE49-F238E27FC236}">
                <a16:creationId xmlns:a16="http://schemas.microsoft.com/office/drawing/2014/main" id="{ABE20079-317D-4FF6-9684-AA9B0F2E05B7}"/>
              </a:ext>
            </a:extLst>
          </p:cNvPr>
          <p:cNvGrpSpPr/>
          <p:nvPr userDrawn="1"/>
        </p:nvGrpSpPr>
        <p:grpSpPr bwMode="ltGray">
          <a:xfrm>
            <a:off x="-15898" y="-12038"/>
            <a:ext cx="12207898" cy="6870038"/>
            <a:chOff x="-15898" y="-12038"/>
            <a:chExt cx="12207898" cy="6870038"/>
          </a:xfrm>
        </p:grpSpPr>
        <p:pic>
          <p:nvPicPr>
            <p:cNvPr id="22" name="Picture 65" descr="About">
              <a:extLst>
                <a:ext uri="{FF2B5EF4-FFF2-40B4-BE49-F238E27FC236}">
                  <a16:creationId xmlns:a16="http://schemas.microsoft.com/office/drawing/2014/main" id="{957E44BD-EE8D-4695-ABA2-0753259E916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886" r="5521"/>
            <a:stretch/>
          </p:blipFill>
          <p:spPr bwMode="ltGray">
            <a:xfrm>
              <a:off x="-15898" y="0"/>
              <a:ext cx="12207898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1516671B-FB20-4F1D-BBC2-8B2B6B9CFB5B}"/>
                </a:ext>
              </a:extLst>
            </p:cNvPr>
            <p:cNvSpPr/>
            <p:nvPr/>
          </p:nvSpPr>
          <p:spPr bwMode="ltGray">
            <a:xfrm>
              <a:off x="-15898" y="0"/>
              <a:ext cx="12207898" cy="6858000"/>
            </a:xfrm>
            <a:prstGeom prst="rect">
              <a:avLst/>
            </a:prstGeom>
            <a:gradFill flip="none" rotWithShape="1">
              <a:gsLst>
                <a:gs pos="18000">
                  <a:srgbClr val="3F6B39">
                    <a:alpha val="86000"/>
                  </a:srgbClr>
                </a:gs>
                <a:gs pos="100000">
                  <a:srgbClr val="3F6B39">
                    <a:alpha val="35000"/>
                  </a:srgbClr>
                </a:gs>
              </a:gsLst>
              <a:lin ang="0" scaled="1"/>
              <a:tileRect/>
            </a:gradFill>
            <a:ln w="9525" cap="flat" cmpd="sng" algn="ctr">
              <a:solidFill>
                <a:srgbClr val="3F6B39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Group 1">
              <a:extLst>
                <a:ext uri="{FF2B5EF4-FFF2-40B4-BE49-F238E27FC236}">
                  <a16:creationId xmlns:a16="http://schemas.microsoft.com/office/drawing/2014/main" id="{BEA29757-EEB9-441E-8E05-A7FC79B582B0}"/>
                </a:ext>
              </a:extLst>
            </p:cNvPr>
            <p:cNvSpPr>
              <a:spLocks/>
            </p:cNvSpPr>
            <p:nvPr/>
          </p:nvSpPr>
          <p:spPr bwMode="ltGray">
            <a:xfrm>
              <a:off x="4591537" y="0"/>
              <a:ext cx="2363578" cy="1100931"/>
            </a:xfrm>
            <a:custGeom>
              <a:avLst/>
              <a:gdLst>
                <a:gd name="connsiteX0" fmla="*/ 0 w 2363578"/>
                <a:gd name="connsiteY0" fmla="*/ 0 h 1100931"/>
                <a:gd name="connsiteX1" fmla="*/ 1853488 w 2363578"/>
                <a:gd name="connsiteY1" fmla="*/ 0 h 1100931"/>
                <a:gd name="connsiteX2" fmla="*/ 2363578 w 2363578"/>
                <a:gd name="connsiteY2" fmla="*/ 1100931 h 1100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3578" h="1100931">
                  <a:moveTo>
                    <a:pt x="0" y="0"/>
                  </a:moveTo>
                  <a:lnTo>
                    <a:pt x="1853488" y="0"/>
                  </a:lnTo>
                  <a:lnTo>
                    <a:pt x="2363578" y="1100931"/>
                  </a:lnTo>
                  <a:close/>
                </a:path>
              </a:pathLst>
            </a:custGeom>
            <a:solidFill>
              <a:srgbClr val="FFFFFF">
                <a:alpha val="36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Freeform 34">
              <a:extLst>
                <a:ext uri="{FF2B5EF4-FFF2-40B4-BE49-F238E27FC236}">
                  <a16:creationId xmlns:a16="http://schemas.microsoft.com/office/drawing/2014/main" id="{AED4654A-20C8-4FAF-86B1-666B50010C77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7057081" y="0"/>
              <a:ext cx="3369896" cy="1569243"/>
            </a:xfrm>
            <a:custGeom>
              <a:avLst/>
              <a:gdLst>
                <a:gd name="connsiteX0" fmla="*/ 0 w 3369896"/>
                <a:gd name="connsiteY0" fmla="*/ 0 h 1569243"/>
                <a:gd name="connsiteX1" fmla="*/ 2638619 w 3369896"/>
                <a:gd name="connsiteY1" fmla="*/ 0 h 1569243"/>
                <a:gd name="connsiteX2" fmla="*/ 3369896 w 3369896"/>
                <a:gd name="connsiteY2" fmla="*/ 1569243 h 156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9896" h="1569243">
                  <a:moveTo>
                    <a:pt x="0" y="0"/>
                  </a:moveTo>
                  <a:lnTo>
                    <a:pt x="2638619" y="0"/>
                  </a:lnTo>
                  <a:lnTo>
                    <a:pt x="3369896" y="1569243"/>
                  </a:lnTo>
                  <a:close/>
                </a:path>
              </a:pathLst>
            </a:custGeom>
            <a:solidFill>
              <a:srgbClr val="FFD100">
                <a:alpha val="49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" name="Freeform 35">
              <a:extLst>
                <a:ext uri="{FF2B5EF4-FFF2-40B4-BE49-F238E27FC236}">
                  <a16:creationId xmlns:a16="http://schemas.microsoft.com/office/drawing/2014/main" id="{4E5FF1D3-8BF9-472B-BD24-2F2AFB803D13}"/>
                </a:ext>
              </a:extLst>
            </p:cNvPr>
            <p:cNvSpPr>
              <a:spLocks/>
            </p:cNvSpPr>
            <p:nvPr/>
          </p:nvSpPr>
          <p:spPr bwMode="ltGray">
            <a:xfrm>
              <a:off x="9696133" y="1"/>
              <a:ext cx="2495867" cy="2390792"/>
            </a:xfrm>
            <a:custGeom>
              <a:avLst/>
              <a:gdLst>
                <a:gd name="connsiteX0" fmla="*/ 0 w 2495867"/>
                <a:gd name="connsiteY0" fmla="*/ 0 h 2390792"/>
                <a:gd name="connsiteX1" fmla="*/ 2495867 w 2495867"/>
                <a:gd name="connsiteY1" fmla="*/ 0 h 2390792"/>
                <a:gd name="connsiteX2" fmla="*/ 2495867 w 2495867"/>
                <a:gd name="connsiteY2" fmla="*/ 2390792 h 2390792"/>
                <a:gd name="connsiteX3" fmla="*/ 731462 w 2495867"/>
                <a:gd name="connsiteY3" fmla="*/ 1569401 h 239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5867" h="2390792">
                  <a:moveTo>
                    <a:pt x="0" y="0"/>
                  </a:moveTo>
                  <a:lnTo>
                    <a:pt x="2495867" y="0"/>
                  </a:lnTo>
                  <a:lnTo>
                    <a:pt x="2495867" y="2390792"/>
                  </a:lnTo>
                  <a:lnTo>
                    <a:pt x="731462" y="1569401"/>
                  </a:lnTo>
                  <a:close/>
                </a:path>
              </a:pathLst>
            </a:custGeom>
            <a:solidFill>
              <a:srgbClr val="5D9E54">
                <a:alpha val="58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" name="doc id">
              <a:extLst>
                <a:ext uri="{FF2B5EF4-FFF2-40B4-BE49-F238E27FC236}">
                  <a16:creationId xmlns:a16="http://schemas.microsoft.com/office/drawing/2014/main" id="{D32DC00C-C6B9-4638-A668-8F4F2A907D3B}"/>
                </a:ext>
              </a:extLst>
            </p:cNvPr>
            <p:cNvSpPr>
              <a:spLocks noChangeArrowheads="1"/>
            </p:cNvSpPr>
            <p:nvPr/>
          </p:nvSpPr>
          <p:spPr bwMode="ltGray">
            <a:xfrm>
              <a:off x="11064591" y="51833"/>
              <a:ext cx="894152" cy="1247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marL="0" marR="0" lvl="0" indent="0" algn="r" defTabSz="9135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16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F80159D0-6749-4DB5-9263-0C2BD85849B0}"/>
                </a:ext>
              </a:extLst>
            </p:cNvPr>
            <p:cNvSpPr>
              <a:spLocks/>
            </p:cNvSpPr>
            <p:nvPr/>
          </p:nvSpPr>
          <p:spPr bwMode="ltGray">
            <a:xfrm>
              <a:off x="10427596" y="1569403"/>
              <a:ext cx="1764404" cy="3834145"/>
            </a:xfrm>
            <a:custGeom>
              <a:avLst/>
              <a:gdLst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519830 w 2519830"/>
                <a:gd name="connsiteY2" fmla="*/ 1 h 5403547"/>
                <a:gd name="connsiteX3" fmla="*/ 23964 w 2519830"/>
                <a:gd name="connsiteY3" fmla="*/ 1 h 5403547"/>
                <a:gd name="connsiteX4" fmla="*/ 755426 w 2519830"/>
                <a:gd name="connsiteY4" fmla="*/ 1569402 h 5403547"/>
                <a:gd name="connsiteX5" fmla="*/ 2519830 w 2519830"/>
                <a:gd name="connsiteY5" fmla="*/ 2390793 h 5403547"/>
                <a:gd name="connsiteX6" fmla="*/ 2519830 w 2519830"/>
                <a:gd name="connsiteY6" fmla="*/ 5403547 h 5403547"/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3964 w 2519830"/>
                <a:gd name="connsiteY2" fmla="*/ 1 h 5403547"/>
                <a:gd name="connsiteX3" fmla="*/ 755426 w 2519830"/>
                <a:gd name="connsiteY3" fmla="*/ 1569402 h 5403547"/>
                <a:gd name="connsiteX4" fmla="*/ 2519830 w 2519830"/>
                <a:gd name="connsiteY4" fmla="*/ 2390793 h 5403547"/>
                <a:gd name="connsiteX5" fmla="*/ 2519830 w 2519830"/>
                <a:gd name="connsiteY5" fmla="*/ 5403547 h 5403547"/>
                <a:gd name="connsiteX6" fmla="*/ 0 w 2519830"/>
                <a:gd name="connsiteY6" fmla="*/ 0 h 5403547"/>
                <a:gd name="connsiteX0" fmla="*/ 0 w 2519830"/>
                <a:gd name="connsiteY0" fmla="*/ 0 h 5403547"/>
                <a:gd name="connsiteX1" fmla="*/ 23964 w 2519830"/>
                <a:gd name="connsiteY1" fmla="*/ 1 h 5403547"/>
                <a:gd name="connsiteX2" fmla="*/ 755426 w 2519830"/>
                <a:gd name="connsiteY2" fmla="*/ 1569402 h 5403547"/>
                <a:gd name="connsiteX3" fmla="*/ 2519830 w 2519830"/>
                <a:gd name="connsiteY3" fmla="*/ 2390793 h 5403547"/>
                <a:gd name="connsiteX4" fmla="*/ 2519830 w 2519830"/>
                <a:gd name="connsiteY4" fmla="*/ 5403547 h 5403547"/>
                <a:gd name="connsiteX5" fmla="*/ 0 w 2519830"/>
                <a:gd name="connsiteY5" fmla="*/ 0 h 5403547"/>
                <a:gd name="connsiteX0" fmla="*/ 2495866 w 2495866"/>
                <a:gd name="connsiteY0" fmla="*/ 5403546 h 5403546"/>
                <a:gd name="connsiteX1" fmla="*/ 0 w 2495866"/>
                <a:gd name="connsiteY1" fmla="*/ 0 h 5403546"/>
                <a:gd name="connsiteX2" fmla="*/ 731462 w 2495866"/>
                <a:gd name="connsiteY2" fmla="*/ 1569401 h 5403546"/>
                <a:gd name="connsiteX3" fmla="*/ 2495866 w 2495866"/>
                <a:gd name="connsiteY3" fmla="*/ 2390792 h 5403546"/>
                <a:gd name="connsiteX4" fmla="*/ 2495866 w 2495866"/>
                <a:gd name="connsiteY4" fmla="*/ 5403546 h 5403546"/>
                <a:gd name="connsiteX0" fmla="*/ 1764404 w 1764404"/>
                <a:gd name="connsiteY0" fmla="*/ 3834145 h 3834145"/>
                <a:gd name="connsiteX1" fmla="*/ 0 w 1764404"/>
                <a:gd name="connsiteY1" fmla="*/ 0 h 3834145"/>
                <a:gd name="connsiteX2" fmla="*/ 1764404 w 1764404"/>
                <a:gd name="connsiteY2" fmla="*/ 821391 h 3834145"/>
                <a:gd name="connsiteX3" fmla="*/ 1764404 w 1764404"/>
                <a:gd name="connsiteY3" fmla="*/ 3834145 h 3834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64404" h="3834145">
                  <a:moveTo>
                    <a:pt x="1764404" y="3834145"/>
                  </a:moveTo>
                  <a:lnTo>
                    <a:pt x="0" y="0"/>
                  </a:lnTo>
                  <a:lnTo>
                    <a:pt x="1764404" y="821391"/>
                  </a:lnTo>
                  <a:lnTo>
                    <a:pt x="1764404" y="3834145"/>
                  </a:lnTo>
                  <a:close/>
                </a:path>
              </a:pathLst>
            </a:custGeom>
            <a:solidFill>
              <a:srgbClr val="FFD100">
                <a:alpha val="49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29" name="Picture 12">
              <a:extLst>
                <a:ext uri="{FF2B5EF4-FFF2-40B4-BE49-F238E27FC236}">
                  <a16:creationId xmlns:a16="http://schemas.microsoft.com/office/drawing/2014/main" id="{59BA4928-D1F4-4469-8793-2852B2E49AE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 bwMode="ltGray">
            <a:xfrm>
              <a:off x="611441" y="542924"/>
              <a:ext cx="2688569" cy="841321"/>
            </a:xfrm>
            <a:prstGeom prst="rect">
              <a:avLst/>
            </a:prstGeom>
          </p:spPr>
        </p:pic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E4F280B4-D75B-46AB-A268-90910F535ED6}"/>
                </a:ext>
              </a:extLst>
            </p:cNvPr>
            <p:cNvSpPr>
              <a:spLocks/>
            </p:cNvSpPr>
            <p:nvPr/>
          </p:nvSpPr>
          <p:spPr bwMode="ltGray">
            <a:xfrm>
              <a:off x="6443063" y="-12038"/>
              <a:ext cx="5474706" cy="4825984"/>
            </a:xfrm>
            <a:custGeom>
              <a:avLst/>
              <a:gdLst>
                <a:gd name="connsiteX0" fmla="*/ 0 w 5474706"/>
                <a:gd name="connsiteY0" fmla="*/ 0 h 4825984"/>
                <a:gd name="connsiteX1" fmla="*/ 610810 w 5474706"/>
                <a:gd name="connsiteY1" fmla="*/ 0 h 4825984"/>
                <a:gd name="connsiteX2" fmla="*/ 3981656 w 5474706"/>
                <a:gd name="connsiteY2" fmla="*/ 1569869 h 4825984"/>
                <a:gd name="connsiteX3" fmla="*/ 3982923 w 5474706"/>
                <a:gd name="connsiteY3" fmla="*/ 1572586 h 4825984"/>
                <a:gd name="connsiteX4" fmla="*/ 3976086 w 5474706"/>
                <a:gd name="connsiteY4" fmla="*/ 1569403 h 4825984"/>
                <a:gd name="connsiteX5" fmla="*/ 5474706 w 5474706"/>
                <a:gd name="connsiteY5" fmla="*/ 4825984 h 4825984"/>
                <a:gd name="connsiteX6" fmla="*/ 1349206 w 5474706"/>
                <a:gd name="connsiteY6" fmla="*/ 2911232 h 4825984"/>
                <a:gd name="connsiteX7" fmla="*/ 510415 w 5474706"/>
                <a:gd name="connsiteY7" fmla="*/ 1101566 h 4825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474706" h="4825984">
                  <a:moveTo>
                    <a:pt x="0" y="0"/>
                  </a:moveTo>
                  <a:lnTo>
                    <a:pt x="610810" y="0"/>
                  </a:lnTo>
                  <a:lnTo>
                    <a:pt x="3981656" y="1569869"/>
                  </a:lnTo>
                  <a:lnTo>
                    <a:pt x="3982923" y="1572586"/>
                  </a:lnTo>
                  <a:lnTo>
                    <a:pt x="3976086" y="1569403"/>
                  </a:lnTo>
                  <a:lnTo>
                    <a:pt x="5474706" y="4825984"/>
                  </a:lnTo>
                  <a:lnTo>
                    <a:pt x="1349206" y="2911232"/>
                  </a:lnTo>
                  <a:lnTo>
                    <a:pt x="510415" y="1101566"/>
                  </a:lnTo>
                  <a:close/>
                </a:path>
              </a:pathLst>
            </a:custGeom>
            <a:solidFill>
              <a:srgbClr val="5D9E54">
                <a:alpha val="58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6192267"/>
            <a:ext cx="683583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1" y="5774658"/>
            <a:ext cx="683583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2" y="2210324"/>
            <a:ext cx="6835830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535356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508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5">
            <a:extLst>
              <a:ext uri="{FF2B5EF4-FFF2-40B4-BE49-F238E27FC236}">
                <a16:creationId xmlns:a16="http://schemas.microsoft.com/office/drawing/2014/main" id="{2BCB1AD8-BE24-4DE7-B8F8-3F2BF3879474}"/>
              </a:ext>
            </a:extLst>
          </p:cNvPr>
          <p:cNvGrpSpPr/>
          <p:nvPr userDrawn="1"/>
        </p:nvGrpSpPr>
        <p:grpSpPr bwMode="ltGray">
          <a:xfrm>
            <a:off x="-15898" y="-12038"/>
            <a:ext cx="12207898" cy="6870038"/>
            <a:chOff x="-15898" y="-12038"/>
            <a:chExt cx="12207898" cy="6870038"/>
          </a:xfrm>
        </p:grpSpPr>
        <p:pic>
          <p:nvPicPr>
            <p:cNvPr id="7" name="Picture 65" descr="About">
              <a:extLst>
                <a:ext uri="{FF2B5EF4-FFF2-40B4-BE49-F238E27FC236}">
                  <a16:creationId xmlns:a16="http://schemas.microsoft.com/office/drawing/2014/main" id="{7FE511F0-A4F5-4357-826B-B0AA3FF3E62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886" r="5521"/>
            <a:stretch/>
          </p:blipFill>
          <p:spPr bwMode="ltGray">
            <a:xfrm>
              <a:off x="-15898" y="0"/>
              <a:ext cx="12207898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161EC77-5142-4B41-A3DC-755003E75C80}"/>
                </a:ext>
              </a:extLst>
            </p:cNvPr>
            <p:cNvSpPr/>
            <p:nvPr/>
          </p:nvSpPr>
          <p:spPr bwMode="ltGray">
            <a:xfrm>
              <a:off x="-15898" y="0"/>
              <a:ext cx="12207898" cy="6858000"/>
            </a:xfrm>
            <a:prstGeom prst="rect">
              <a:avLst/>
            </a:prstGeom>
            <a:gradFill flip="none" rotWithShape="1">
              <a:gsLst>
                <a:gs pos="18000">
                  <a:srgbClr val="3F6B39">
                    <a:alpha val="86000"/>
                  </a:srgbClr>
                </a:gs>
                <a:gs pos="100000">
                  <a:srgbClr val="3F6B39">
                    <a:alpha val="35000"/>
                  </a:srgbClr>
                </a:gs>
              </a:gsLst>
              <a:lin ang="0" scaled="1"/>
              <a:tileRect/>
            </a:gradFill>
            <a:ln w="9525" cap="flat" cmpd="sng" algn="ctr">
              <a:solidFill>
                <a:srgbClr val="3F6B39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9" name="Group 1">
              <a:extLst>
                <a:ext uri="{FF2B5EF4-FFF2-40B4-BE49-F238E27FC236}">
                  <a16:creationId xmlns:a16="http://schemas.microsoft.com/office/drawing/2014/main" id="{1278366A-85FE-49D0-953D-137285A1CA21}"/>
                </a:ext>
              </a:extLst>
            </p:cNvPr>
            <p:cNvSpPr>
              <a:spLocks/>
            </p:cNvSpPr>
            <p:nvPr/>
          </p:nvSpPr>
          <p:spPr bwMode="ltGray">
            <a:xfrm>
              <a:off x="4591537" y="0"/>
              <a:ext cx="2363578" cy="1100931"/>
            </a:xfrm>
            <a:custGeom>
              <a:avLst/>
              <a:gdLst>
                <a:gd name="connsiteX0" fmla="*/ 0 w 2363578"/>
                <a:gd name="connsiteY0" fmla="*/ 0 h 1100931"/>
                <a:gd name="connsiteX1" fmla="*/ 1853488 w 2363578"/>
                <a:gd name="connsiteY1" fmla="*/ 0 h 1100931"/>
                <a:gd name="connsiteX2" fmla="*/ 2363578 w 2363578"/>
                <a:gd name="connsiteY2" fmla="*/ 1100931 h 1100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3578" h="1100931">
                  <a:moveTo>
                    <a:pt x="0" y="0"/>
                  </a:moveTo>
                  <a:lnTo>
                    <a:pt x="1853488" y="0"/>
                  </a:lnTo>
                  <a:lnTo>
                    <a:pt x="2363578" y="1100931"/>
                  </a:lnTo>
                  <a:close/>
                </a:path>
              </a:pathLst>
            </a:custGeom>
            <a:solidFill>
              <a:srgbClr val="FFFFFF">
                <a:alpha val="36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Freeform 34">
              <a:extLst>
                <a:ext uri="{FF2B5EF4-FFF2-40B4-BE49-F238E27FC236}">
                  <a16:creationId xmlns:a16="http://schemas.microsoft.com/office/drawing/2014/main" id="{3F0EFE70-7405-4CD0-BB8B-61FFC3FBB78A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7057081" y="0"/>
              <a:ext cx="3369896" cy="1569243"/>
            </a:xfrm>
            <a:custGeom>
              <a:avLst/>
              <a:gdLst>
                <a:gd name="connsiteX0" fmla="*/ 0 w 3369896"/>
                <a:gd name="connsiteY0" fmla="*/ 0 h 1569243"/>
                <a:gd name="connsiteX1" fmla="*/ 2638619 w 3369896"/>
                <a:gd name="connsiteY1" fmla="*/ 0 h 1569243"/>
                <a:gd name="connsiteX2" fmla="*/ 3369896 w 3369896"/>
                <a:gd name="connsiteY2" fmla="*/ 1569243 h 156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9896" h="1569243">
                  <a:moveTo>
                    <a:pt x="0" y="0"/>
                  </a:moveTo>
                  <a:lnTo>
                    <a:pt x="2638619" y="0"/>
                  </a:lnTo>
                  <a:lnTo>
                    <a:pt x="3369896" y="1569243"/>
                  </a:lnTo>
                  <a:close/>
                </a:path>
              </a:pathLst>
            </a:custGeom>
            <a:solidFill>
              <a:srgbClr val="FFD100">
                <a:alpha val="49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Freeform 35">
              <a:extLst>
                <a:ext uri="{FF2B5EF4-FFF2-40B4-BE49-F238E27FC236}">
                  <a16:creationId xmlns:a16="http://schemas.microsoft.com/office/drawing/2014/main" id="{9CD899AB-EB02-4EB0-8646-E82A25EFD6CD}"/>
                </a:ext>
              </a:extLst>
            </p:cNvPr>
            <p:cNvSpPr>
              <a:spLocks/>
            </p:cNvSpPr>
            <p:nvPr/>
          </p:nvSpPr>
          <p:spPr bwMode="ltGray">
            <a:xfrm>
              <a:off x="9696133" y="1"/>
              <a:ext cx="2495867" cy="2390792"/>
            </a:xfrm>
            <a:custGeom>
              <a:avLst/>
              <a:gdLst>
                <a:gd name="connsiteX0" fmla="*/ 0 w 2495867"/>
                <a:gd name="connsiteY0" fmla="*/ 0 h 2390792"/>
                <a:gd name="connsiteX1" fmla="*/ 2495867 w 2495867"/>
                <a:gd name="connsiteY1" fmla="*/ 0 h 2390792"/>
                <a:gd name="connsiteX2" fmla="*/ 2495867 w 2495867"/>
                <a:gd name="connsiteY2" fmla="*/ 2390792 h 2390792"/>
                <a:gd name="connsiteX3" fmla="*/ 731462 w 2495867"/>
                <a:gd name="connsiteY3" fmla="*/ 1569401 h 239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5867" h="2390792">
                  <a:moveTo>
                    <a:pt x="0" y="0"/>
                  </a:moveTo>
                  <a:lnTo>
                    <a:pt x="2495867" y="0"/>
                  </a:lnTo>
                  <a:lnTo>
                    <a:pt x="2495867" y="2390792"/>
                  </a:lnTo>
                  <a:lnTo>
                    <a:pt x="731462" y="1569401"/>
                  </a:lnTo>
                  <a:close/>
                </a:path>
              </a:pathLst>
            </a:custGeom>
            <a:solidFill>
              <a:srgbClr val="5D9E54">
                <a:alpha val="58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doc id">
              <a:extLst>
                <a:ext uri="{FF2B5EF4-FFF2-40B4-BE49-F238E27FC236}">
                  <a16:creationId xmlns:a16="http://schemas.microsoft.com/office/drawing/2014/main" id="{BED65756-3D8B-422F-A124-251500423CE4}"/>
                </a:ext>
              </a:extLst>
            </p:cNvPr>
            <p:cNvSpPr>
              <a:spLocks noChangeArrowheads="1"/>
            </p:cNvSpPr>
            <p:nvPr/>
          </p:nvSpPr>
          <p:spPr bwMode="ltGray">
            <a:xfrm>
              <a:off x="11064591" y="51833"/>
              <a:ext cx="894152" cy="1247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marL="0" marR="0" lvl="0" indent="0" algn="r" defTabSz="9135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16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8469D5B-93E7-4CF1-9E2E-855DDAABA549}"/>
                </a:ext>
              </a:extLst>
            </p:cNvPr>
            <p:cNvSpPr>
              <a:spLocks/>
            </p:cNvSpPr>
            <p:nvPr/>
          </p:nvSpPr>
          <p:spPr bwMode="ltGray">
            <a:xfrm>
              <a:off x="10427596" y="1569403"/>
              <a:ext cx="1764404" cy="3834145"/>
            </a:xfrm>
            <a:custGeom>
              <a:avLst/>
              <a:gdLst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519830 w 2519830"/>
                <a:gd name="connsiteY2" fmla="*/ 1 h 5403547"/>
                <a:gd name="connsiteX3" fmla="*/ 23964 w 2519830"/>
                <a:gd name="connsiteY3" fmla="*/ 1 h 5403547"/>
                <a:gd name="connsiteX4" fmla="*/ 755426 w 2519830"/>
                <a:gd name="connsiteY4" fmla="*/ 1569402 h 5403547"/>
                <a:gd name="connsiteX5" fmla="*/ 2519830 w 2519830"/>
                <a:gd name="connsiteY5" fmla="*/ 2390793 h 5403547"/>
                <a:gd name="connsiteX6" fmla="*/ 2519830 w 2519830"/>
                <a:gd name="connsiteY6" fmla="*/ 5403547 h 5403547"/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3964 w 2519830"/>
                <a:gd name="connsiteY2" fmla="*/ 1 h 5403547"/>
                <a:gd name="connsiteX3" fmla="*/ 755426 w 2519830"/>
                <a:gd name="connsiteY3" fmla="*/ 1569402 h 5403547"/>
                <a:gd name="connsiteX4" fmla="*/ 2519830 w 2519830"/>
                <a:gd name="connsiteY4" fmla="*/ 2390793 h 5403547"/>
                <a:gd name="connsiteX5" fmla="*/ 2519830 w 2519830"/>
                <a:gd name="connsiteY5" fmla="*/ 5403547 h 5403547"/>
                <a:gd name="connsiteX6" fmla="*/ 0 w 2519830"/>
                <a:gd name="connsiteY6" fmla="*/ 0 h 5403547"/>
                <a:gd name="connsiteX0" fmla="*/ 0 w 2519830"/>
                <a:gd name="connsiteY0" fmla="*/ 0 h 5403547"/>
                <a:gd name="connsiteX1" fmla="*/ 23964 w 2519830"/>
                <a:gd name="connsiteY1" fmla="*/ 1 h 5403547"/>
                <a:gd name="connsiteX2" fmla="*/ 755426 w 2519830"/>
                <a:gd name="connsiteY2" fmla="*/ 1569402 h 5403547"/>
                <a:gd name="connsiteX3" fmla="*/ 2519830 w 2519830"/>
                <a:gd name="connsiteY3" fmla="*/ 2390793 h 5403547"/>
                <a:gd name="connsiteX4" fmla="*/ 2519830 w 2519830"/>
                <a:gd name="connsiteY4" fmla="*/ 5403547 h 5403547"/>
                <a:gd name="connsiteX5" fmla="*/ 0 w 2519830"/>
                <a:gd name="connsiteY5" fmla="*/ 0 h 5403547"/>
                <a:gd name="connsiteX0" fmla="*/ 2495866 w 2495866"/>
                <a:gd name="connsiteY0" fmla="*/ 5403546 h 5403546"/>
                <a:gd name="connsiteX1" fmla="*/ 0 w 2495866"/>
                <a:gd name="connsiteY1" fmla="*/ 0 h 5403546"/>
                <a:gd name="connsiteX2" fmla="*/ 731462 w 2495866"/>
                <a:gd name="connsiteY2" fmla="*/ 1569401 h 5403546"/>
                <a:gd name="connsiteX3" fmla="*/ 2495866 w 2495866"/>
                <a:gd name="connsiteY3" fmla="*/ 2390792 h 5403546"/>
                <a:gd name="connsiteX4" fmla="*/ 2495866 w 2495866"/>
                <a:gd name="connsiteY4" fmla="*/ 5403546 h 5403546"/>
                <a:gd name="connsiteX0" fmla="*/ 1764404 w 1764404"/>
                <a:gd name="connsiteY0" fmla="*/ 3834145 h 3834145"/>
                <a:gd name="connsiteX1" fmla="*/ 0 w 1764404"/>
                <a:gd name="connsiteY1" fmla="*/ 0 h 3834145"/>
                <a:gd name="connsiteX2" fmla="*/ 1764404 w 1764404"/>
                <a:gd name="connsiteY2" fmla="*/ 821391 h 3834145"/>
                <a:gd name="connsiteX3" fmla="*/ 1764404 w 1764404"/>
                <a:gd name="connsiteY3" fmla="*/ 3834145 h 3834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64404" h="3834145">
                  <a:moveTo>
                    <a:pt x="1764404" y="3834145"/>
                  </a:moveTo>
                  <a:lnTo>
                    <a:pt x="0" y="0"/>
                  </a:lnTo>
                  <a:lnTo>
                    <a:pt x="1764404" y="821391"/>
                  </a:lnTo>
                  <a:lnTo>
                    <a:pt x="1764404" y="3834145"/>
                  </a:lnTo>
                  <a:close/>
                </a:path>
              </a:pathLst>
            </a:custGeom>
            <a:solidFill>
              <a:srgbClr val="FFD100">
                <a:alpha val="49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6" name="Picture 12">
              <a:extLst>
                <a:ext uri="{FF2B5EF4-FFF2-40B4-BE49-F238E27FC236}">
                  <a16:creationId xmlns:a16="http://schemas.microsoft.com/office/drawing/2014/main" id="{C9778815-DD21-4210-A0D3-874C9A42704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 bwMode="ltGray">
            <a:xfrm>
              <a:off x="611441" y="542924"/>
              <a:ext cx="2688569" cy="841321"/>
            </a:xfrm>
            <a:prstGeom prst="rect">
              <a:avLst/>
            </a:prstGeom>
          </p:spPr>
        </p:pic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94671693-60A6-4BF0-8765-810461097C96}"/>
                </a:ext>
              </a:extLst>
            </p:cNvPr>
            <p:cNvSpPr>
              <a:spLocks/>
            </p:cNvSpPr>
            <p:nvPr/>
          </p:nvSpPr>
          <p:spPr bwMode="ltGray">
            <a:xfrm>
              <a:off x="6443063" y="-12038"/>
              <a:ext cx="5474706" cy="4825984"/>
            </a:xfrm>
            <a:custGeom>
              <a:avLst/>
              <a:gdLst>
                <a:gd name="connsiteX0" fmla="*/ 0 w 5474706"/>
                <a:gd name="connsiteY0" fmla="*/ 0 h 4825984"/>
                <a:gd name="connsiteX1" fmla="*/ 610810 w 5474706"/>
                <a:gd name="connsiteY1" fmla="*/ 0 h 4825984"/>
                <a:gd name="connsiteX2" fmla="*/ 3981656 w 5474706"/>
                <a:gd name="connsiteY2" fmla="*/ 1569869 h 4825984"/>
                <a:gd name="connsiteX3" fmla="*/ 3982923 w 5474706"/>
                <a:gd name="connsiteY3" fmla="*/ 1572586 h 4825984"/>
                <a:gd name="connsiteX4" fmla="*/ 3976086 w 5474706"/>
                <a:gd name="connsiteY4" fmla="*/ 1569403 h 4825984"/>
                <a:gd name="connsiteX5" fmla="*/ 5474706 w 5474706"/>
                <a:gd name="connsiteY5" fmla="*/ 4825984 h 4825984"/>
                <a:gd name="connsiteX6" fmla="*/ 1349206 w 5474706"/>
                <a:gd name="connsiteY6" fmla="*/ 2911232 h 4825984"/>
                <a:gd name="connsiteX7" fmla="*/ 510415 w 5474706"/>
                <a:gd name="connsiteY7" fmla="*/ 1101566 h 4825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474706" h="4825984">
                  <a:moveTo>
                    <a:pt x="0" y="0"/>
                  </a:moveTo>
                  <a:lnTo>
                    <a:pt x="610810" y="0"/>
                  </a:lnTo>
                  <a:lnTo>
                    <a:pt x="3981656" y="1569869"/>
                  </a:lnTo>
                  <a:lnTo>
                    <a:pt x="3982923" y="1572586"/>
                  </a:lnTo>
                  <a:lnTo>
                    <a:pt x="3976086" y="1569403"/>
                  </a:lnTo>
                  <a:lnTo>
                    <a:pt x="5474706" y="4825984"/>
                  </a:lnTo>
                  <a:lnTo>
                    <a:pt x="1349206" y="2911232"/>
                  </a:lnTo>
                  <a:lnTo>
                    <a:pt x="510415" y="1101566"/>
                  </a:lnTo>
                  <a:close/>
                </a:path>
              </a:pathLst>
            </a:custGeom>
            <a:solidFill>
              <a:srgbClr val="5D9E54">
                <a:alpha val="58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9" name="Documenttype">
            <a:extLst>
              <a:ext uri="{FF2B5EF4-FFF2-40B4-BE49-F238E27FC236}">
                <a16:creationId xmlns:a16="http://schemas.microsoft.com/office/drawing/2014/main" id="{7590D73B-A6D0-4935-AD81-8142A8AFEE3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550800" y="6192267"/>
            <a:ext cx="683583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/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20" name="Subtitle">
            <a:extLst>
              <a:ext uri="{FF2B5EF4-FFF2-40B4-BE49-F238E27FC236}">
                <a16:creationId xmlns:a16="http://schemas.microsoft.com/office/drawing/2014/main" id="{6208DDAD-6790-4DEE-BC4E-21410F90F089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1941" y="5774658"/>
            <a:ext cx="683583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776F6699-7A61-4508-8809-872D8E8E0EA1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1942" y="2210324"/>
            <a:ext cx="6835830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785942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4828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D47804A5-610F-459E-875F-60857CBD6FAB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205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7626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13" imgH="416" progId="TCLayout.ActiveDocument.1">
                  <p:embed/>
                </p:oleObj>
              </mc:Choice>
              <mc:Fallback>
                <p:oleObj name="think-cell Slide" r:id="rId13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graphicFrame>
        <p:nvGraphicFramePr>
          <p:cNvPr id="2" name="Object 6" hidden="1">
            <a:extLst>
              <a:ext uri="{FF2B5EF4-FFF2-40B4-BE49-F238E27FC236}">
                <a16:creationId xmlns:a16="http://schemas.microsoft.com/office/drawing/2014/main" id="{92C269B7-8CC9-12AD-22BA-C0833C0559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327626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2" name="Object 6" hidden="1">
                        <a:extLst>
                          <a:ext uri="{FF2B5EF4-FFF2-40B4-BE49-F238E27FC236}">
                            <a16:creationId xmlns:a16="http://schemas.microsoft.com/office/drawing/2014/main" id="{92C269B7-8CC9-12AD-22BA-C0833C0559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EB1C1276-7C36-4B90-E2FA-9DDE37A58B08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482B7AD4-3A20-417A-CE32-E74B55061B96}"/>
              </a:ext>
            </a:extLst>
          </p:cNvPr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83ACE5CF-47AE-4813-D59C-1AC343E48991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191687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3764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EAA134-9792-4D41-898E-A83D3A4E3D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79744E48-04EF-4FA7-AF06-13E2E4A9BC5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3E8FEB9C-6784-4537-A3A4-FBCC608D7F9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368807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9295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9A5BC72-B58B-4282-B0EA-EE79CC589D7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D22CB34C-37DC-432E-A8CE-747AC8EF1174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9744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8064E9-3153-4628-A7D5-81F8DEADB0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43726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8064E9-3153-4628-A7D5-81F8DEADB0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83FAD0D1-09DE-42C2-8479-DCB9493F9B46}"/>
              </a:ext>
            </a:extLst>
          </p:cNvPr>
          <p:cNvSpPr/>
          <p:nvPr userDrawn="1"/>
        </p:nvSpPr>
        <p:spPr bwMode="ltGray">
          <a:xfrm>
            <a:off x="0" y="5819792"/>
            <a:ext cx="12191999" cy="1038208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A981030-DF6F-46EC-AA9C-451D8C63B1B3}"/>
              </a:ext>
            </a:extLst>
          </p:cNvPr>
          <p:cNvGrpSpPr/>
          <p:nvPr userDrawn="1"/>
        </p:nvGrpSpPr>
        <p:grpSpPr bwMode="ltGray">
          <a:xfrm>
            <a:off x="4591537" y="0"/>
            <a:ext cx="7600463" cy="5403547"/>
            <a:chOff x="4591537" y="0"/>
            <a:chExt cx="7600463" cy="5403547"/>
          </a:xfrm>
        </p:grpSpPr>
        <p:sp>
          <p:nvSpPr>
            <p:cNvPr id="13" name="Freeform 31">
              <a:extLst>
                <a:ext uri="{FF2B5EF4-FFF2-40B4-BE49-F238E27FC236}">
                  <a16:creationId xmlns:a16="http://schemas.microsoft.com/office/drawing/2014/main" id="{FC204ED4-128C-4092-80A7-3BF276D62593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672169" y="0"/>
              <a:ext cx="2519830" cy="5403547"/>
            </a:xfrm>
            <a:custGeom>
              <a:avLst/>
              <a:gdLst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519830 w 2519830"/>
                <a:gd name="connsiteY2" fmla="*/ 5403547 h 5403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19830" h="5403547">
                  <a:moveTo>
                    <a:pt x="0" y="0"/>
                  </a:moveTo>
                  <a:lnTo>
                    <a:pt x="2519830" y="0"/>
                  </a:lnTo>
                  <a:lnTo>
                    <a:pt x="2519830" y="5403547"/>
                  </a:lnTo>
                  <a:close/>
                </a:path>
              </a:pathLst>
            </a:custGeom>
            <a:solidFill>
              <a:srgbClr val="AAD3A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14" name="Freeform 32">
              <a:extLst>
                <a:ext uri="{FF2B5EF4-FFF2-40B4-BE49-F238E27FC236}">
                  <a16:creationId xmlns:a16="http://schemas.microsoft.com/office/drawing/2014/main" id="{EFBEB147-9868-41C2-BBAF-B359D1F2D31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4591537" y="0"/>
              <a:ext cx="2363578" cy="1100931"/>
            </a:xfrm>
            <a:custGeom>
              <a:avLst/>
              <a:gdLst>
                <a:gd name="connsiteX0" fmla="*/ 0 w 2363578"/>
                <a:gd name="connsiteY0" fmla="*/ 0 h 1100931"/>
                <a:gd name="connsiteX1" fmla="*/ 1853488 w 2363578"/>
                <a:gd name="connsiteY1" fmla="*/ 0 h 1100931"/>
                <a:gd name="connsiteX2" fmla="*/ 2363578 w 2363578"/>
                <a:gd name="connsiteY2" fmla="*/ 1100931 h 1100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3578" h="1100931">
                  <a:moveTo>
                    <a:pt x="0" y="0"/>
                  </a:moveTo>
                  <a:lnTo>
                    <a:pt x="1853488" y="0"/>
                  </a:lnTo>
                  <a:lnTo>
                    <a:pt x="2363578" y="1100931"/>
                  </a:lnTo>
                  <a:close/>
                </a:path>
              </a:pathLst>
            </a:custGeom>
            <a:solidFill>
              <a:srgbClr val="E7F2E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15" name="Freeform 33">
              <a:extLst>
                <a:ext uri="{FF2B5EF4-FFF2-40B4-BE49-F238E27FC236}">
                  <a16:creationId xmlns:a16="http://schemas.microsoft.com/office/drawing/2014/main" id="{5EF34EEA-27D0-41C5-B8E1-AB97CA3246C2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6445332" y="0"/>
              <a:ext cx="5507233" cy="4841081"/>
            </a:xfrm>
            <a:custGeom>
              <a:avLst/>
              <a:gdLst>
                <a:gd name="connsiteX0" fmla="*/ 0 w 5507233"/>
                <a:gd name="connsiteY0" fmla="*/ 0 h 4841081"/>
                <a:gd name="connsiteX1" fmla="*/ 610810 w 5507233"/>
                <a:gd name="connsiteY1" fmla="*/ 0 h 4841081"/>
                <a:gd name="connsiteX2" fmla="*/ 3981656 w 5507233"/>
                <a:gd name="connsiteY2" fmla="*/ 1569869 h 4841081"/>
                <a:gd name="connsiteX3" fmla="*/ 4665678 w 5507233"/>
                <a:gd name="connsiteY3" fmla="*/ 3036941 h 4841081"/>
                <a:gd name="connsiteX4" fmla="*/ 5507233 w 5507233"/>
                <a:gd name="connsiteY4" fmla="*/ 4841081 h 4841081"/>
                <a:gd name="connsiteX5" fmla="*/ 1349206 w 5507233"/>
                <a:gd name="connsiteY5" fmla="*/ 2911232 h 4841081"/>
                <a:gd name="connsiteX6" fmla="*/ 510415 w 5507233"/>
                <a:gd name="connsiteY6" fmla="*/ 1101566 h 4841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07233" h="4841081">
                  <a:moveTo>
                    <a:pt x="0" y="0"/>
                  </a:moveTo>
                  <a:lnTo>
                    <a:pt x="610810" y="0"/>
                  </a:lnTo>
                  <a:lnTo>
                    <a:pt x="3981656" y="1569869"/>
                  </a:lnTo>
                  <a:lnTo>
                    <a:pt x="4665678" y="3036941"/>
                  </a:lnTo>
                  <a:lnTo>
                    <a:pt x="5507233" y="4841081"/>
                  </a:lnTo>
                  <a:lnTo>
                    <a:pt x="1349206" y="2911232"/>
                  </a:lnTo>
                  <a:lnTo>
                    <a:pt x="510415" y="1101566"/>
                  </a:lnTo>
                  <a:close/>
                </a:path>
              </a:pathLst>
            </a:custGeom>
            <a:solidFill>
              <a:srgbClr val="C1DEC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16" name="Freeform 34">
              <a:extLst>
                <a:ext uri="{FF2B5EF4-FFF2-40B4-BE49-F238E27FC236}">
                  <a16:creationId xmlns:a16="http://schemas.microsoft.com/office/drawing/2014/main" id="{305C7708-781D-4DCC-9792-C108E447517C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7057081" y="0"/>
              <a:ext cx="3369896" cy="1569243"/>
            </a:xfrm>
            <a:custGeom>
              <a:avLst/>
              <a:gdLst>
                <a:gd name="connsiteX0" fmla="*/ 0 w 3369896"/>
                <a:gd name="connsiteY0" fmla="*/ 0 h 1569243"/>
                <a:gd name="connsiteX1" fmla="*/ 2638619 w 3369896"/>
                <a:gd name="connsiteY1" fmla="*/ 0 h 1569243"/>
                <a:gd name="connsiteX2" fmla="*/ 3369896 w 3369896"/>
                <a:gd name="connsiteY2" fmla="*/ 1569243 h 156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9896" h="1569243">
                  <a:moveTo>
                    <a:pt x="0" y="0"/>
                  </a:moveTo>
                  <a:lnTo>
                    <a:pt x="2638619" y="0"/>
                  </a:lnTo>
                  <a:lnTo>
                    <a:pt x="3369896" y="1569243"/>
                  </a:lnTo>
                  <a:close/>
                </a:path>
              </a:pathLst>
            </a:custGeom>
            <a:solidFill>
              <a:srgbClr val="8AC5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17" name="Freeform 35">
              <a:extLst>
                <a:ext uri="{FF2B5EF4-FFF2-40B4-BE49-F238E27FC236}">
                  <a16:creationId xmlns:a16="http://schemas.microsoft.com/office/drawing/2014/main" id="{F277ACC7-F94B-4DA2-90B8-46FEF64AD18F}"/>
                </a:ext>
              </a:extLst>
            </p:cNvPr>
            <p:cNvSpPr>
              <a:spLocks/>
            </p:cNvSpPr>
            <p:nvPr/>
          </p:nvSpPr>
          <p:spPr bwMode="ltGray">
            <a:xfrm>
              <a:off x="9696133" y="1"/>
              <a:ext cx="2495867" cy="2390792"/>
            </a:xfrm>
            <a:custGeom>
              <a:avLst/>
              <a:gdLst>
                <a:gd name="connsiteX0" fmla="*/ 0 w 2495867"/>
                <a:gd name="connsiteY0" fmla="*/ 0 h 2390792"/>
                <a:gd name="connsiteX1" fmla="*/ 2495867 w 2495867"/>
                <a:gd name="connsiteY1" fmla="*/ 0 h 2390792"/>
                <a:gd name="connsiteX2" fmla="*/ 2495867 w 2495867"/>
                <a:gd name="connsiteY2" fmla="*/ 2390792 h 2390792"/>
                <a:gd name="connsiteX3" fmla="*/ 731462 w 2495867"/>
                <a:gd name="connsiteY3" fmla="*/ 1569401 h 239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5867" h="2390792">
                  <a:moveTo>
                    <a:pt x="0" y="0"/>
                  </a:moveTo>
                  <a:lnTo>
                    <a:pt x="2495867" y="0"/>
                  </a:lnTo>
                  <a:lnTo>
                    <a:pt x="2495867" y="2390792"/>
                  </a:lnTo>
                  <a:lnTo>
                    <a:pt x="731462" y="1569401"/>
                  </a:lnTo>
                  <a:close/>
                </a:path>
              </a:pathLst>
            </a:custGeom>
            <a:solidFill>
              <a:srgbClr val="CEE5C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14055BC4-CE1F-4873-8D4F-3AC91BBB6FA1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ltGray">
          <a:xfrm>
            <a:off x="611441" y="542924"/>
            <a:ext cx="2688569" cy="841321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4FCABF2-1291-4CAB-A39C-0FDD2FD8A1F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8F89071A-FCD4-4931-B959-81108D770B1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91CDB4B3-3114-44F6-AD2C-194A932AA26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554736" y="2561414"/>
            <a:ext cx="6760464" cy="1354217"/>
          </a:xfrm>
        </p:spPr>
        <p:txBody>
          <a:bodyPr vert="horz" anchor="b" anchorCtr="0">
            <a:noAutofit/>
          </a:bodyPr>
          <a:lstStyle>
            <a:lvl1pPr rtl="0"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D9BE897E-5FF0-45EC-8297-0A2EAA2F00C0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1941" y="4024099"/>
            <a:ext cx="6760464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4723775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2273FB-3270-4181-86FF-C1D92782D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7719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2273FB-3270-4181-86FF-C1D92782D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E3D51E-EFF4-4CED-8D1C-0D351D7D32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878CBA30-A797-424E-A56B-F43F015ECE9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4DFDCB49-3E02-46A1-9353-B0FEEED3405C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73471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05001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2BA1E0C-CA9F-489D-B144-727B655BD1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E97B40B-AFF2-4819-823D-9831ADC756C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CCB87B95-6804-46D7-91D5-E78355EFE1A6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B455B60-8C61-4F71-BAFD-DC38773026DD}"/>
              </a:ext>
            </a:extLst>
          </p:cNvPr>
          <p:cNvPicPr>
            <a:picLocks/>
          </p:cNvPicPr>
          <p:nvPr userDrawn="1"/>
        </p:nvPicPr>
        <p:blipFill>
          <a:blip r:embed="rId12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42148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3593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FA1A46-CC63-4D80-904D-B75922926F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solidFill>
                  <a:schemeClr val="bg2"/>
                </a:solidFill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635D98B-97DC-4A80-82A3-A8B3C701B73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46557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579EBDD9-E10C-4B21-9AF0-5A0E323D0559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F82FCC0-1920-4FD4-AC60-4462FFE896EA}"/>
              </a:ext>
            </a:extLst>
          </p:cNvPr>
          <p:cNvPicPr>
            <a:picLocks/>
          </p:cNvPicPr>
          <p:nvPr userDrawn="1"/>
        </p:nvPicPr>
        <p:blipFill>
          <a:blip r:embed="rId12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2377038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6283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5065776" cy="384721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192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solidFill>
                  <a:schemeClr val="bg2"/>
                </a:solidFill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70EC1EC4-B8BC-4D9A-B66A-A8C4493B6DB4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80121B7-700B-4723-A9DC-53DBE1383A54}"/>
              </a:ext>
            </a:extLst>
          </p:cNvPr>
          <p:cNvPicPr>
            <a:picLocks/>
          </p:cNvPicPr>
          <p:nvPr userDrawn="1"/>
        </p:nvPicPr>
        <p:blipFill>
          <a:blip r:embed="rId12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817265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4660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384721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19250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477661"/>
            <a:ext cx="6967729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solidFill>
                  <a:schemeClr val="bg2"/>
                </a:solidFill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B514F2AC-E093-4146-9C34-6DE7921321FC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1AF7C2F-4368-40B9-82B5-5465B14FBC23}"/>
              </a:ext>
            </a:extLst>
          </p:cNvPr>
          <p:cNvPicPr>
            <a:picLocks/>
          </p:cNvPicPr>
          <p:nvPr userDrawn="1"/>
        </p:nvPicPr>
        <p:blipFill>
          <a:blip r:embed="rId12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0506050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51094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7918704" cy="384721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19250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solidFill>
                  <a:schemeClr val="bg2"/>
                </a:solidFill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noProof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E0134ED8-19D3-4F7B-AD79-4BD4C826B6D5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BF8D81E-1CCF-4032-9BB6-A66BCE6600C8}"/>
              </a:ext>
            </a:extLst>
          </p:cNvPr>
          <p:cNvPicPr>
            <a:picLocks/>
          </p:cNvPicPr>
          <p:nvPr userDrawn="1"/>
        </p:nvPicPr>
        <p:blipFill>
          <a:blip r:embed="rId12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1354932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04494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5065776" cy="384721"/>
          </a:xfrm>
        </p:spPr>
        <p:txBody>
          <a:bodyPr vert="horz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192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solidFill>
                  <a:schemeClr val="bg2"/>
                </a:solidFill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094E9BA4-7901-4294-9B46-C5E7BDEE1ED1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000000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16A5E6CC-C01A-4949-A946-485A1DCC437D}"/>
              </a:ext>
            </a:extLst>
          </p:cNvPr>
          <p:cNvPicPr>
            <a:picLocks/>
          </p:cNvPicPr>
          <p:nvPr userDrawn="1"/>
        </p:nvPicPr>
        <p:blipFill>
          <a:blip r:embed="rId1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219581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0611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436BD0A4-69D3-402B-A9A9-C50227B15FE2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612001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26182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6" y="6477661"/>
            <a:ext cx="6967729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solidFill>
                  <a:schemeClr val="bg2"/>
                </a:solidFill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465576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 rtl="0">
              <a:defRPr lang="en-US" sz="800" b="0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A2A8C6A2-26B8-46D0-B6A4-4D8C91B2772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63DE0353-99BC-4322-9D9F-E3C1556B87A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4" y="3659644"/>
            <a:ext cx="3465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79D1C680-B332-4717-977D-1F4D6460B15C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000000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879B5D1-5376-4043-A78C-D70F27A13A8E}"/>
              </a:ext>
            </a:extLst>
          </p:cNvPr>
          <p:cNvPicPr>
            <a:picLocks/>
          </p:cNvPicPr>
          <p:nvPr userDrawn="1"/>
        </p:nvPicPr>
        <p:blipFill>
          <a:blip r:embed="rId1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1236390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53613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noProof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251460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 rtl="0">
              <a:defRPr lang="en-US" sz="800" b="0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201E918A-7ADD-4595-9E5C-36C3D305CA4A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A0895B2F-2F72-4935-BC7F-BEA280D6C542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2CB06661-7315-4C49-A82C-EB1DA9CD3A2D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000000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0683C08-95BA-49B7-B693-1FAC48CD08C5}"/>
              </a:ext>
            </a:extLst>
          </p:cNvPr>
          <p:cNvPicPr>
            <a:picLocks/>
          </p:cNvPicPr>
          <p:nvPr userDrawn="1"/>
        </p:nvPicPr>
        <p:blipFill>
          <a:blip r:embed="rId1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0440134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37BF69-DBBB-44FA-AA65-8999BD8B4E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7155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937BF69-DBBB-44FA-AA65-8999BD8B4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40E0BC-D285-4CB0-BC8F-8E2C57BF2A2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5171"/>
            <a:ext cx="11082528" cy="989512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5C5F547-1B1B-411D-99AF-7DE767A71F1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AAF2C566-1236-45F8-A90D-7E5982706CE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42FA8AF-2ABD-488A-8D9D-3A0D58F1B0F3}"/>
              </a:ext>
            </a:extLst>
          </p:cNvPr>
          <p:cNvPicPr>
            <a:picLocks/>
          </p:cNvPicPr>
          <p:nvPr userDrawn="1"/>
        </p:nvPicPr>
        <p:blipFill>
          <a:blip r:embed="rId10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E01716AD-1203-4184-94A0-0CD6A08E282A}"/>
              </a:ext>
            </a:extLst>
          </p:cNvPr>
          <p:cNvGrpSpPr/>
          <p:nvPr userDrawn="1"/>
        </p:nvGrpSpPr>
        <p:grpSpPr>
          <a:xfrm>
            <a:off x="554736" y="6368464"/>
            <a:ext cx="11082528" cy="54693"/>
            <a:chOff x="554736" y="6349068"/>
            <a:chExt cx="11082528" cy="54693"/>
          </a:xfrm>
          <a:solidFill>
            <a:schemeClr val="accent1"/>
          </a:solidFill>
        </p:grpSpPr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02EC46E7-358A-49D3-8CBE-A25AF24E6203}"/>
                </a:ext>
              </a:extLst>
            </p:cNvPr>
            <p:cNvCxnSpPr/>
            <p:nvPr userDrawn="1"/>
          </p:nvCxnSpPr>
          <p:spPr bwMode="ltGray">
            <a:xfrm flipV="1">
              <a:off x="554741" y="6349072"/>
              <a:ext cx="11082523" cy="17939"/>
            </a:xfrm>
            <a:prstGeom prst="line">
              <a:avLst/>
            </a:prstGeom>
            <a:grpFill/>
            <a:ln w="6350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</p:cxn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FF3992BA-FAB7-4AD0-97E5-5CEAA68609A1}"/>
                </a:ext>
              </a:extLst>
            </p:cNvPr>
            <p:cNvSpPr/>
            <p:nvPr userDrawn="1"/>
          </p:nvSpPr>
          <p:spPr bwMode="ltGray">
            <a:xfrm>
              <a:off x="554736" y="6358042"/>
              <a:ext cx="2797733" cy="45719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B3736874-4AD7-44F9-BFB4-D94B41E5B25B}"/>
                </a:ext>
              </a:extLst>
            </p:cNvPr>
            <p:cNvSpPr/>
            <p:nvPr userDrawn="1"/>
          </p:nvSpPr>
          <p:spPr bwMode="ltGray">
            <a:xfrm>
              <a:off x="10671243" y="6349068"/>
              <a:ext cx="966017" cy="54688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5411584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CD2BF5E-92A7-41C4-93AE-C72274D09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0085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CD2BF5E-92A7-41C4-93AE-C72274D09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E9E206AB-587F-4AC2-9EF7-AA339899F4B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C5E0506A-BAD0-40D6-BEE9-78F4BA0D081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211107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9CF6F9-3F22-4C1D-8F1F-9500FF412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8582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A9CF6F9-3F22-4C1D-8F1F-9500FF412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AD8BB23-3428-4F39-9FE1-8D416950BD2A}"/>
              </a:ext>
            </a:extLst>
          </p:cNvPr>
          <p:cNvPicPr>
            <a:picLocks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2598057" y="3103027"/>
            <a:ext cx="6995886" cy="651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660422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45928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6502844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"/>
            </p:custDataLst>
          </p:nvPr>
        </p:nvSpPr>
        <p:spPr>
          <a:xfrm>
            <a:off x="550800" y="6192267"/>
            <a:ext cx="683583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51941" y="5774658"/>
            <a:ext cx="683583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1942" y="2210324"/>
            <a:ext cx="6835830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AB0CD9-1BA9-EDB1-4A11-C080FA1DF1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2764188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AB0CD9-1BA9-EDB1-4A11-C080FA1DF1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8E58E711-6B1A-A4EE-E2D3-C799159CDD51}"/>
              </a:ext>
            </a:extLst>
          </p:cNvPr>
          <p:cNvGrpSpPr/>
          <p:nvPr userDrawn="1"/>
        </p:nvGrpSpPr>
        <p:grpSpPr bwMode="ltGray">
          <a:xfrm>
            <a:off x="-15898" y="-12038"/>
            <a:ext cx="12207898" cy="6870038"/>
            <a:chOff x="-15898" y="-12038"/>
            <a:chExt cx="12207898" cy="6870038"/>
          </a:xfrm>
        </p:grpSpPr>
        <p:pic>
          <p:nvPicPr>
            <p:cNvPr id="5" name="Picture 65" descr="About">
              <a:extLst>
                <a:ext uri="{FF2B5EF4-FFF2-40B4-BE49-F238E27FC236}">
                  <a16:creationId xmlns:a16="http://schemas.microsoft.com/office/drawing/2014/main" id="{39638C46-CEE4-DDFA-19AC-84AD1A43677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886" r="5521"/>
            <a:stretch/>
          </p:blipFill>
          <p:spPr bwMode="ltGray">
            <a:xfrm>
              <a:off x="-15898" y="0"/>
              <a:ext cx="12207898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E065A19-3D68-82C7-21F4-D09B8F4E36D3}"/>
                </a:ext>
              </a:extLst>
            </p:cNvPr>
            <p:cNvSpPr/>
            <p:nvPr/>
          </p:nvSpPr>
          <p:spPr bwMode="ltGray">
            <a:xfrm>
              <a:off x="-15898" y="0"/>
              <a:ext cx="12207898" cy="6858000"/>
            </a:xfrm>
            <a:prstGeom prst="rect">
              <a:avLst/>
            </a:prstGeom>
            <a:gradFill flip="none" rotWithShape="1">
              <a:gsLst>
                <a:gs pos="18000">
                  <a:srgbClr val="3F6B39">
                    <a:alpha val="86000"/>
                  </a:srgbClr>
                </a:gs>
                <a:gs pos="100000">
                  <a:srgbClr val="3F6B39">
                    <a:alpha val="35000"/>
                  </a:srgbClr>
                </a:gs>
              </a:gsLst>
              <a:lin ang="0" scaled="1"/>
              <a:tileRect/>
            </a:gradFill>
            <a:ln w="9525" cap="flat" cmpd="sng" algn="ctr">
              <a:solidFill>
                <a:srgbClr val="3F6B39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Group 1">
              <a:extLst>
                <a:ext uri="{FF2B5EF4-FFF2-40B4-BE49-F238E27FC236}">
                  <a16:creationId xmlns:a16="http://schemas.microsoft.com/office/drawing/2014/main" id="{C90B576D-2FB6-20CB-8320-2D5FE8639A90}"/>
                </a:ext>
              </a:extLst>
            </p:cNvPr>
            <p:cNvSpPr>
              <a:spLocks/>
            </p:cNvSpPr>
            <p:nvPr/>
          </p:nvSpPr>
          <p:spPr bwMode="ltGray">
            <a:xfrm>
              <a:off x="4591537" y="0"/>
              <a:ext cx="2363578" cy="1100931"/>
            </a:xfrm>
            <a:custGeom>
              <a:avLst/>
              <a:gdLst>
                <a:gd name="connsiteX0" fmla="*/ 0 w 2363578"/>
                <a:gd name="connsiteY0" fmla="*/ 0 h 1100931"/>
                <a:gd name="connsiteX1" fmla="*/ 1853488 w 2363578"/>
                <a:gd name="connsiteY1" fmla="*/ 0 h 1100931"/>
                <a:gd name="connsiteX2" fmla="*/ 2363578 w 2363578"/>
                <a:gd name="connsiteY2" fmla="*/ 1100931 h 1100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3578" h="1100931">
                  <a:moveTo>
                    <a:pt x="0" y="0"/>
                  </a:moveTo>
                  <a:lnTo>
                    <a:pt x="1853488" y="0"/>
                  </a:lnTo>
                  <a:lnTo>
                    <a:pt x="2363578" y="1100931"/>
                  </a:lnTo>
                  <a:close/>
                </a:path>
              </a:pathLst>
            </a:custGeom>
            <a:solidFill>
              <a:srgbClr val="FFFFFF">
                <a:alpha val="36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9" name="Freeform 34">
              <a:extLst>
                <a:ext uri="{FF2B5EF4-FFF2-40B4-BE49-F238E27FC236}">
                  <a16:creationId xmlns:a16="http://schemas.microsoft.com/office/drawing/2014/main" id="{8A49AE16-D8A4-3006-BAF3-E7EBDAAB51B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7057081" y="0"/>
              <a:ext cx="3369896" cy="1569243"/>
            </a:xfrm>
            <a:custGeom>
              <a:avLst/>
              <a:gdLst>
                <a:gd name="connsiteX0" fmla="*/ 0 w 3369896"/>
                <a:gd name="connsiteY0" fmla="*/ 0 h 1569243"/>
                <a:gd name="connsiteX1" fmla="*/ 2638619 w 3369896"/>
                <a:gd name="connsiteY1" fmla="*/ 0 h 1569243"/>
                <a:gd name="connsiteX2" fmla="*/ 3369896 w 3369896"/>
                <a:gd name="connsiteY2" fmla="*/ 1569243 h 156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9896" h="1569243">
                  <a:moveTo>
                    <a:pt x="0" y="0"/>
                  </a:moveTo>
                  <a:lnTo>
                    <a:pt x="2638619" y="0"/>
                  </a:lnTo>
                  <a:lnTo>
                    <a:pt x="3369896" y="1569243"/>
                  </a:lnTo>
                  <a:close/>
                </a:path>
              </a:pathLst>
            </a:custGeom>
            <a:solidFill>
              <a:srgbClr val="FFD100">
                <a:alpha val="49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Freeform 35">
              <a:extLst>
                <a:ext uri="{FF2B5EF4-FFF2-40B4-BE49-F238E27FC236}">
                  <a16:creationId xmlns:a16="http://schemas.microsoft.com/office/drawing/2014/main" id="{69533352-BF86-346F-5B6C-7A747A17BC73}"/>
                </a:ext>
              </a:extLst>
            </p:cNvPr>
            <p:cNvSpPr>
              <a:spLocks/>
            </p:cNvSpPr>
            <p:nvPr/>
          </p:nvSpPr>
          <p:spPr bwMode="ltGray">
            <a:xfrm>
              <a:off x="9696133" y="1"/>
              <a:ext cx="2495867" cy="2390792"/>
            </a:xfrm>
            <a:custGeom>
              <a:avLst/>
              <a:gdLst>
                <a:gd name="connsiteX0" fmla="*/ 0 w 2495867"/>
                <a:gd name="connsiteY0" fmla="*/ 0 h 2390792"/>
                <a:gd name="connsiteX1" fmla="*/ 2495867 w 2495867"/>
                <a:gd name="connsiteY1" fmla="*/ 0 h 2390792"/>
                <a:gd name="connsiteX2" fmla="*/ 2495867 w 2495867"/>
                <a:gd name="connsiteY2" fmla="*/ 2390792 h 2390792"/>
                <a:gd name="connsiteX3" fmla="*/ 731462 w 2495867"/>
                <a:gd name="connsiteY3" fmla="*/ 1569401 h 239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5867" h="2390792">
                  <a:moveTo>
                    <a:pt x="0" y="0"/>
                  </a:moveTo>
                  <a:lnTo>
                    <a:pt x="2495867" y="0"/>
                  </a:lnTo>
                  <a:lnTo>
                    <a:pt x="2495867" y="2390792"/>
                  </a:lnTo>
                  <a:lnTo>
                    <a:pt x="731462" y="1569401"/>
                  </a:lnTo>
                  <a:close/>
                </a:path>
              </a:pathLst>
            </a:custGeom>
            <a:solidFill>
              <a:srgbClr val="5D9E54">
                <a:alpha val="58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doc id">
              <a:extLst>
                <a:ext uri="{FF2B5EF4-FFF2-40B4-BE49-F238E27FC236}">
                  <a16:creationId xmlns:a16="http://schemas.microsoft.com/office/drawing/2014/main" id="{25775342-417E-83AE-F867-1336A03898EB}"/>
                </a:ext>
              </a:extLst>
            </p:cNvPr>
            <p:cNvSpPr>
              <a:spLocks noChangeArrowheads="1"/>
            </p:cNvSpPr>
            <p:nvPr/>
          </p:nvSpPr>
          <p:spPr bwMode="ltGray">
            <a:xfrm>
              <a:off x="11064591" y="51833"/>
              <a:ext cx="894152" cy="1247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marL="0" marR="0" lvl="0" indent="0" algn="r" defTabSz="9135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16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CE562F68-D570-4CA4-D906-B2DC50C8C045}"/>
                </a:ext>
              </a:extLst>
            </p:cNvPr>
            <p:cNvSpPr>
              <a:spLocks/>
            </p:cNvSpPr>
            <p:nvPr/>
          </p:nvSpPr>
          <p:spPr bwMode="ltGray">
            <a:xfrm>
              <a:off x="10427596" y="1569403"/>
              <a:ext cx="1764404" cy="3834145"/>
            </a:xfrm>
            <a:custGeom>
              <a:avLst/>
              <a:gdLst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519830 w 2519830"/>
                <a:gd name="connsiteY2" fmla="*/ 1 h 5403547"/>
                <a:gd name="connsiteX3" fmla="*/ 23964 w 2519830"/>
                <a:gd name="connsiteY3" fmla="*/ 1 h 5403547"/>
                <a:gd name="connsiteX4" fmla="*/ 755426 w 2519830"/>
                <a:gd name="connsiteY4" fmla="*/ 1569402 h 5403547"/>
                <a:gd name="connsiteX5" fmla="*/ 2519830 w 2519830"/>
                <a:gd name="connsiteY5" fmla="*/ 2390793 h 5403547"/>
                <a:gd name="connsiteX6" fmla="*/ 2519830 w 2519830"/>
                <a:gd name="connsiteY6" fmla="*/ 5403547 h 5403547"/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3964 w 2519830"/>
                <a:gd name="connsiteY2" fmla="*/ 1 h 5403547"/>
                <a:gd name="connsiteX3" fmla="*/ 755426 w 2519830"/>
                <a:gd name="connsiteY3" fmla="*/ 1569402 h 5403547"/>
                <a:gd name="connsiteX4" fmla="*/ 2519830 w 2519830"/>
                <a:gd name="connsiteY4" fmla="*/ 2390793 h 5403547"/>
                <a:gd name="connsiteX5" fmla="*/ 2519830 w 2519830"/>
                <a:gd name="connsiteY5" fmla="*/ 5403547 h 5403547"/>
                <a:gd name="connsiteX6" fmla="*/ 0 w 2519830"/>
                <a:gd name="connsiteY6" fmla="*/ 0 h 5403547"/>
                <a:gd name="connsiteX0" fmla="*/ 0 w 2519830"/>
                <a:gd name="connsiteY0" fmla="*/ 0 h 5403547"/>
                <a:gd name="connsiteX1" fmla="*/ 23964 w 2519830"/>
                <a:gd name="connsiteY1" fmla="*/ 1 h 5403547"/>
                <a:gd name="connsiteX2" fmla="*/ 755426 w 2519830"/>
                <a:gd name="connsiteY2" fmla="*/ 1569402 h 5403547"/>
                <a:gd name="connsiteX3" fmla="*/ 2519830 w 2519830"/>
                <a:gd name="connsiteY3" fmla="*/ 2390793 h 5403547"/>
                <a:gd name="connsiteX4" fmla="*/ 2519830 w 2519830"/>
                <a:gd name="connsiteY4" fmla="*/ 5403547 h 5403547"/>
                <a:gd name="connsiteX5" fmla="*/ 0 w 2519830"/>
                <a:gd name="connsiteY5" fmla="*/ 0 h 5403547"/>
                <a:gd name="connsiteX0" fmla="*/ 2495866 w 2495866"/>
                <a:gd name="connsiteY0" fmla="*/ 5403546 h 5403546"/>
                <a:gd name="connsiteX1" fmla="*/ 0 w 2495866"/>
                <a:gd name="connsiteY1" fmla="*/ 0 h 5403546"/>
                <a:gd name="connsiteX2" fmla="*/ 731462 w 2495866"/>
                <a:gd name="connsiteY2" fmla="*/ 1569401 h 5403546"/>
                <a:gd name="connsiteX3" fmla="*/ 2495866 w 2495866"/>
                <a:gd name="connsiteY3" fmla="*/ 2390792 h 5403546"/>
                <a:gd name="connsiteX4" fmla="*/ 2495866 w 2495866"/>
                <a:gd name="connsiteY4" fmla="*/ 5403546 h 5403546"/>
                <a:gd name="connsiteX0" fmla="*/ 1764404 w 1764404"/>
                <a:gd name="connsiteY0" fmla="*/ 3834145 h 3834145"/>
                <a:gd name="connsiteX1" fmla="*/ 0 w 1764404"/>
                <a:gd name="connsiteY1" fmla="*/ 0 h 3834145"/>
                <a:gd name="connsiteX2" fmla="*/ 1764404 w 1764404"/>
                <a:gd name="connsiteY2" fmla="*/ 821391 h 3834145"/>
                <a:gd name="connsiteX3" fmla="*/ 1764404 w 1764404"/>
                <a:gd name="connsiteY3" fmla="*/ 3834145 h 3834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64404" h="3834145">
                  <a:moveTo>
                    <a:pt x="1764404" y="3834145"/>
                  </a:moveTo>
                  <a:lnTo>
                    <a:pt x="0" y="0"/>
                  </a:lnTo>
                  <a:lnTo>
                    <a:pt x="1764404" y="821391"/>
                  </a:lnTo>
                  <a:lnTo>
                    <a:pt x="1764404" y="3834145"/>
                  </a:lnTo>
                  <a:close/>
                </a:path>
              </a:pathLst>
            </a:custGeom>
            <a:solidFill>
              <a:srgbClr val="FFD100">
                <a:alpha val="49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43F07E6A-EA10-8C4D-90C9-836A9EA4321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 bwMode="ltGray">
            <a:xfrm>
              <a:off x="611441" y="542924"/>
              <a:ext cx="2688569" cy="841321"/>
            </a:xfrm>
            <a:prstGeom prst="rect">
              <a:avLst/>
            </a:prstGeom>
          </p:spPr>
        </p:pic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945212F-1B29-DA1E-BB6C-ACBFC42B1273}"/>
                </a:ext>
              </a:extLst>
            </p:cNvPr>
            <p:cNvSpPr>
              <a:spLocks/>
            </p:cNvSpPr>
            <p:nvPr/>
          </p:nvSpPr>
          <p:spPr bwMode="ltGray">
            <a:xfrm>
              <a:off x="6443063" y="-12038"/>
              <a:ext cx="5474706" cy="4825984"/>
            </a:xfrm>
            <a:custGeom>
              <a:avLst/>
              <a:gdLst>
                <a:gd name="connsiteX0" fmla="*/ 0 w 5474706"/>
                <a:gd name="connsiteY0" fmla="*/ 0 h 4825984"/>
                <a:gd name="connsiteX1" fmla="*/ 610810 w 5474706"/>
                <a:gd name="connsiteY1" fmla="*/ 0 h 4825984"/>
                <a:gd name="connsiteX2" fmla="*/ 3981656 w 5474706"/>
                <a:gd name="connsiteY2" fmla="*/ 1569869 h 4825984"/>
                <a:gd name="connsiteX3" fmla="*/ 3982923 w 5474706"/>
                <a:gd name="connsiteY3" fmla="*/ 1572586 h 4825984"/>
                <a:gd name="connsiteX4" fmla="*/ 3976086 w 5474706"/>
                <a:gd name="connsiteY4" fmla="*/ 1569403 h 4825984"/>
                <a:gd name="connsiteX5" fmla="*/ 5474706 w 5474706"/>
                <a:gd name="connsiteY5" fmla="*/ 4825984 h 4825984"/>
                <a:gd name="connsiteX6" fmla="*/ 1349206 w 5474706"/>
                <a:gd name="connsiteY6" fmla="*/ 2911232 h 4825984"/>
                <a:gd name="connsiteX7" fmla="*/ 510415 w 5474706"/>
                <a:gd name="connsiteY7" fmla="*/ 1101566 h 4825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474706" h="4825984">
                  <a:moveTo>
                    <a:pt x="0" y="0"/>
                  </a:moveTo>
                  <a:lnTo>
                    <a:pt x="610810" y="0"/>
                  </a:lnTo>
                  <a:lnTo>
                    <a:pt x="3981656" y="1569869"/>
                  </a:lnTo>
                  <a:lnTo>
                    <a:pt x="3982923" y="1572586"/>
                  </a:lnTo>
                  <a:lnTo>
                    <a:pt x="3976086" y="1569403"/>
                  </a:lnTo>
                  <a:lnTo>
                    <a:pt x="5474706" y="4825984"/>
                  </a:lnTo>
                  <a:lnTo>
                    <a:pt x="1349206" y="2911232"/>
                  </a:lnTo>
                  <a:lnTo>
                    <a:pt x="510415" y="1101566"/>
                  </a:lnTo>
                  <a:close/>
                </a:path>
              </a:pathLst>
            </a:custGeom>
            <a:solidFill>
              <a:srgbClr val="5D9E54">
                <a:alpha val="58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9628204E-9659-C3ED-0BAC-90A8166C265D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834471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00" b="0" i="0">
                <a:solidFill>
                  <a:srgbClr val="87C58F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79D497A-70D3-4528-9C9A-4CE86D692B4B}" type="datetime1">
              <a:rPr lang="en-US" smtClean="0"/>
              <a:t>11/6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BEBEBE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20"/>
              <a:t>Page </a:t>
            </a:r>
            <a:r>
              <a:rPr spc="-30"/>
              <a:t>|</a:t>
            </a:r>
            <a:r>
              <a:rPr spc="150"/>
              <a:t> </a:t>
            </a:r>
            <a:fld id="{81D60167-4931-47E6-BA6A-407CBD079E47}" type="slidenum">
              <a:rPr spc="-30" dirty="0"/>
              <a:t>‹#›</a:t>
            </a:fld>
            <a:endParaRPr spc="-30"/>
          </a:p>
        </p:txBody>
      </p:sp>
    </p:spTree>
    <p:extLst>
      <p:ext uri="{BB962C8B-B14F-4D97-AF65-F5344CB8AC3E}">
        <p14:creationId xmlns:p14="http://schemas.microsoft.com/office/powerpoint/2010/main" val="33836575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A2E7DB-DE05-4F94-BC95-B10E6C621DC8}" type="datetime1">
              <a:rPr lang="en-US" smtClean="0"/>
              <a:t>11/6/20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BEBEBE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20"/>
              <a:t>Page </a:t>
            </a:r>
            <a:r>
              <a:rPr spc="-30"/>
              <a:t>|</a:t>
            </a:r>
            <a:r>
              <a:rPr spc="150"/>
              <a:t> </a:t>
            </a:r>
            <a:fld id="{81D60167-4931-47E6-BA6A-407CBD079E47}" type="slidenum">
              <a:rPr spc="-30" dirty="0"/>
              <a:t>‹#›</a:t>
            </a:fld>
            <a:endParaRPr spc="-30"/>
          </a:p>
        </p:txBody>
      </p:sp>
    </p:spTree>
    <p:extLst>
      <p:ext uri="{BB962C8B-B14F-4D97-AF65-F5344CB8AC3E}">
        <p14:creationId xmlns:p14="http://schemas.microsoft.com/office/powerpoint/2010/main" val="130753186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00" b="0" i="0">
                <a:solidFill>
                  <a:srgbClr val="87C58F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852932" y="1578991"/>
            <a:ext cx="4142104" cy="41636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50" b="0" i="0">
                <a:solidFill>
                  <a:srgbClr val="383838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8AD78D-093B-4BEC-90BA-4B8386AC99AD}" type="datetime1">
              <a:rPr lang="en-US" smtClean="0"/>
              <a:t>11/6/2023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BEBEBE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20"/>
              <a:t>Page </a:t>
            </a:r>
            <a:r>
              <a:rPr spc="-30"/>
              <a:t>|</a:t>
            </a:r>
            <a:r>
              <a:rPr spc="150"/>
              <a:t> </a:t>
            </a:r>
            <a:fld id="{81D60167-4931-47E6-BA6A-407CBD079E47}" type="slidenum">
              <a:rPr spc="-30" dirty="0"/>
              <a:t>‹#›</a:t>
            </a:fld>
            <a:endParaRPr spc="-30"/>
          </a:p>
        </p:txBody>
      </p:sp>
    </p:spTree>
    <p:extLst>
      <p:ext uri="{BB962C8B-B14F-4D97-AF65-F5344CB8AC3E}">
        <p14:creationId xmlns:p14="http://schemas.microsoft.com/office/powerpoint/2010/main" val="26847347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7661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30A6A7F9-7F25-47B4-9EFD-7399510D5D35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561925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38D18C3-132D-4EA9-A013-8C02F2367BA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>
              <a:solidFill>
                <a:schemeClr val="tx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591537" y="0"/>
            <a:ext cx="7600463" cy="5403547"/>
            <a:chOff x="4591537" y="0"/>
            <a:chExt cx="7600463" cy="5403547"/>
          </a:xfrm>
        </p:grpSpPr>
        <p:sp>
          <p:nvSpPr>
            <p:cNvPr id="32" name="Freeform 31"/>
            <p:cNvSpPr>
              <a:spLocks/>
            </p:cNvSpPr>
            <p:nvPr userDrawn="1"/>
          </p:nvSpPr>
          <p:spPr bwMode="ltGray">
            <a:xfrm>
              <a:off x="9672169" y="0"/>
              <a:ext cx="2519830" cy="5403547"/>
            </a:xfrm>
            <a:custGeom>
              <a:avLst/>
              <a:gdLst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519830 w 2519830"/>
                <a:gd name="connsiteY2" fmla="*/ 5403547 h 5403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19830" h="5403547">
                  <a:moveTo>
                    <a:pt x="0" y="0"/>
                  </a:moveTo>
                  <a:lnTo>
                    <a:pt x="2519830" y="0"/>
                  </a:lnTo>
                  <a:lnTo>
                    <a:pt x="2519830" y="5403547"/>
                  </a:lnTo>
                  <a:close/>
                </a:path>
              </a:pathLst>
            </a:custGeom>
            <a:solidFill>
              <a:srgbClr val="AAD3A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ltGray">
            <a:xfrm>
              <a:off x="4591537" y="0"/>
              <a:ext cx="2363578" cy="1100931"/>
            </a:xfrm>
            <a:custGeom>
              <a:avLst/>
              <a:gdLst>
                <a:gd name="connsiteX0" fmla="*/ 0 w 2363578"/>
                <a:gd name="connsiteY0" fmla="*/ 0 h 1100931"/>
                <a:gd name="connsiteX1" fmla="*/ 1853488 w 2363578"/>
                <a:gd name="connsiteY1" fmla="*/ 0 h 1100931"/>
                <a:gd name="connsiteX2" fmla="*/ 2363578 w 2363578"/>
                <a:gd name="connsiteY2" fmla="*/ 1100931 h 1100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3578" h="1100931">
                  <a:moveTo>
                    <a:pt x="0" y="0"/>
                  </a:moveTo>
                  <a:lnTo>
                    <a:pt x="1853488" y="0"/>
                  </a:lnTo>
                  <a:lnTo>
                    <a:pt x="2363578" y="1100931"/>
                  </a:lnTo>
                  <a:close/>
                </a:path>
              </a:pathLst>
            </a:custGeom>
            <a:solidFill>
              <a:srgbClr val="E7F2E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ltGray">
            <a:xfrm>
              <a:off x="6445332" y="0"/>
              <a:ext cx="5507233" cy="4841081"/>
            </a:xfrm>
            <a:custGeom>
              <a:avLst/>
              <a:gdLst>
                <a:gd name="connsiteX0" fmla="*/ 0 w 5507233"/>
                <a:gd name="connsiteY0" fmla="*/ 0 h 4841081"/>
                <a:gd name="connsiteX1" fmla="*/ 610810 w 5507233"/>
                <a:gd name="connsiteY1" fmla="*/ 0 h 4841081"/>
                <a:gd name="connsiteX2" fmla="*/ 3981656 w 5507233"/>
                <a:gd name="connsiteY2" fmla="*/ 1569869 h 4841081"/>
                <a:gd name="connsiteX3" fmla="*/ 4665678 w 5507233"/>
                <a:gd name="connsiteY3" fmla="*/ 3036941 h 4841081"/>
                <a:gd name="connsiteX4" fmla="*/ 5507233 w 5507233"/>
                <a:gd name="connsiteY4" fmla="*/ 4841081 h 4841081"/>
                <a:gd name="connsiteX5" fmla="*/ 1349206 w 5507233"/>
                <a:gd name="connsiteY5" fmla="*/ 2911232 h 4841081"/>
                <a:gd name="connsiteX6" fmla="*/ 510415 w 5507233"/>
                <a:gd name="connsiteY6" fmla="*/ 1101566 h 4841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07233" h="4841081">
                  <a:moveTo>
                    <a:pt x="0" y="0"/>
                  </a:moveTo>
                  <a:lnTo>
                    <a:pt x="610810" y="0"/>
                  </a:lnTo>
                  <a:lnTo>
                    <a:pt x="3981656" y="1569869"/>
                  </a:lnTo>
                  <a:lnTo>
                    <a:pt x="4665678" y="3036941"/>
                  </a:lnTo>
                  <a:lnTo>
                    <a:pt x="5507233" y="4841081"/>
                  </a:lnTo>
                  <a:lnTo>
                    <a:pt x="1349206" y="2911232"/>
                  </a:lnTo>
                  <a:lnTo>
                    <a:pt x="510415" y="1101566"/>
                  </a:lnTo>
                  <a:close/>
                </a:path>
              </a:pathLst>
            </a:custGeom>
            <a:solidFill>
              <a:srgbClr val="C1DEC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ltGray">
            <a:xfrm>
              <a:off x="7057081" y="0"/>
              <a:ext cx="3369896" cy="1569243"/>
            </a:xfrm>
            <a:custGeom>
              <a:avLst/>
              <a:gdLst>
                <a:gd name="connsiteX0" fmla="*/ 0 w 3369896"/>
                <a:gd name="connsiteY0" fmla="*/ 0 h 1569243"/>
                <a:gd name="connsiteX1" fmla="*/ 2638619 w 3369896"/>
                <a:gd name="connsiteY1" fmla="*/ 0 h 1569243"/>
                <a:gd name="connsiteX2" fmla="*/ 3369896 w 3369896"/>
                <a:gd name="connsiteY2" fmla="*/ 1569243 h 156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9896" h="1569243">
                  <a:moveTo>
                    <a:pt x="0" y="0"/>
                  </a:moveTo>
                  <a:lnTo>
                    <a:pt x="2638619" y="0"/>
                  </a:lnTo>
                  <a:lnTo>
                    <a:pt x="3369896" y="1569243"/>
                  </a:lnTo>
                  <a:close/>
                </a:path>
              </a:pathLst>
            </a:custGeom>
            <a:solidFill>
              <a:srgbClr val="8AC5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ltGray">
            <a:xfrm>
              <a:off x="9696133" y="1"/>
              <a:ext cx="2495867" cy="2390792"/>
            </a:xfrm>
            <a:custGeom>
              <a:avLst/>
              <a:gdLst>
                <a:gd name="connsiteX0" fmla="*/ 0 w 2495867"/>
                <a:gd name="connsiteY0" fmla="*/ 0 h 2390792"/>
                <a:gd name="connsiteX1" fmla="*/ 2495867 w 2495867"/>
                <a:gd name="connsiteY1" fmla="*/ 0 h 2390792"/>
                <a:gd name="connsiteX2" fmla="*/ 2495867 w 2495867"/>
                <a:gd name="connsiteY2" fmla="*/ 2390792 h 2390792"/>
                <a:gd name="connsiteX3" fmla="*/ 731462 w 2495867"/>
                <a:gd name="connsiteY3" fmla="*/ 1569401 h 239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5867" h="2390792">
                  <a:moveTo>
                    <a:pt x="0" y="0"/>
                  </a:moveTo>
                  <a:lnTo>
                    <a:pt x="2495867" y="0"/>
                  </a:lnTo>
                  <a:lnTo>
                    <a:pt x="2495867" y="2390792"/>
                  </a:lnTo>
                  <a:lnTo>
                    <a:pt x="731462" y="1569401"/>
                  </a:lnTo>
                  <a:close/>
                </a:path>
              </a:pathLst>
            </a:custGeom>
            <a:solidFill>
              <a:srgbClr val="CEE5C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</p:grp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611441" y="6340334"/>
            <a:ext cx="379578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>
                <a:solidFill>
                  <a:schemeClr val="accent6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611441" y="6493758"/>
            <a:ext cx="4038929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>
                <a:solidFill>
                  <a:schemeClr val="accent6"/>
                </a:solidFill>
                <a:latin typeface="+mn-lt"/>
              </a:rPr>
              <a:t>Last Modified 9/1/2021 9:10 AM Arab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611441" y="6647183"/>
            <a:ext cx="379578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900" baseline="0">
                <a:solidFill>
                  <a:schemeClr val="accent6"/>
                </a:solidFill>
                <a:latin typeface="+mn-lt"/>
              </a:rPr>
              <a:t>Printed 29/12/2019 07:18 Arab Standard Time</a:t>
            </a:r>
            <a:endParaRPr lang="en-US" sz="900" baseline="0">
              <a:solidFill>
                <a:schemeClr val="accent6"/>
              </a:solidFill>
              <a:latin typeface="+mn-lt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ltGray">
          <a:xfrm>
            <a:off x="611441" y="542924"/>
            <a:ext cx="2688569" cy="841321"/>
          </a:xfrm>
          <a:prstGeom prst="rect">
            <a:avLst/>
          </a:prstGeom>
        </p:spPr>
      </p:pic>
      <p:cxnSp>
        <p:nvCxnSpPr>
          <p:cNvPr id="37" name="Straight Connector 36"/>
          <p:cNvCxnSpPr/>
          <p:nvPr userDrawn="1"/>
        </p:nvCxnSpPr>
        <p:spPr bwMode="auto">
          <a:xfrm>
            <a:off x="611441" y="6252508"/>
            <a:ext cx="5171091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</p:cxnSp>
      <p:sp>
        <p:nvSpPr>
          <p:cNvPr id="17" name="doc id"/>
          <p:cNvSpPr>
            <a:spLocks noChangeArrowheads="1"/>
          </p:cNvSpPr>
          <p:nvPr userDrawn="1"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611441" y="2384443"/>
            <a:ext cx="6027484" cy="55399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sz="3600" b="1" baseline="0">
                <a:solidFill>
                  <a:schemeClr val="accent3">
                    <a:lumMod val="75000"/>
                  </a:schemeClr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611442" y="4099796"/>
            <a:ext cx="6027484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0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auto">
          <a:xfrm>
            <a:off x="611441" y="5568928"/>
            <a:ext cx="60274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215783363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oc id"/>
          <p:cNvSpPr>
            <a:spLocks noChangeArrowheads="1"/>
          </p:cNvSpPr>
          <p:nvPr userDrawn="1"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839411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90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doc id"/>
          <p:cNvSpPr>
            <a:spLocks noChangeArrowheads="1"/>
          </p:cNvSpPr>
          <p:nvPr userDrawn="1"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207183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412">
          <p15:clr>
            <a:srgbClr val="000000"/>
          </p15:clr>
        </p15:guide>
        <p15:guide id="2" orient="horz" pos="582">
          <p15:clr>
            <a:srgbClr val="000000"/>
          </p15:clr>
        </p15:guide>
        <p15:guide id="3" orient="horz" pos="3991">
          <p15:clr>
            <a:srgbClr val="000000"/>
          </p15:clr>
        </p15:guide>
        <p15:guide id="4" pos="98">
          <p15:clr>
            <a:srgbClr val="00000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C2DC3B-555B-46D3-9C82-83C4B92E3C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3CCCE22-1493-4319-81E7-7DF99C65F00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420421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66506AC-8BF5-4F95-B0B8-D1B3810460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1828973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66506AC-8BF5-4F95-B0B8-D1B3810460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43C4FD2-D3F0-4127-82F9-DB72DAD4350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>
              <a:solidFill>
                <a:schemeClr val="tx1"/>
              </a:solidFill>
              <a:latin typeface="Arial Nova Light" panose="020B0304020202020204" pitchFamily="34" charset="0"/>
              <a:ea typeface="+mj-ea"/>
              <a:cs typeface="+mj-cs"/>
              <a:sym typeface="Arial Nova Light" panose="020B0304020202020204" pitchFamily="34" charset="0"/>
            </a:endParaRPr>
          </a:p>
        </p:txBody>
      </p:sp>
      <p:sp>
        <p:nvSpPr>
          <p:cNvPr id="3" name="Slide Number"/>
          <p:cNvSpPr txBox="1">
            <a:spLocks/>
          </p:cNvSpPr>
          <p:nvPr/>
        </p:nvSpPr>
        <p:spPr>
          <a:xfrm>
            <a:off x="11626136" y="6564117"/>
            <a:ext cx="158653" cy="16015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20" smtClean="0"/>
              <a:pPr lvl="0"/>
              <a:t>‹#›</a:t>
            </a:fld>
            <a:endParaRPr lang="en-US" sz="1020"/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304516" y="147397"/>
            <a:ext cx="11582954" cy="314028"/>
          </a:xfrm>
        </p:spPr>
        <p:txBody>
          <a:bodyPr vert="horz"/>
          <a:lstStyle>
            <a:lvl1pPr>
              <a:defRPr sz="2041" b="0">
                <a:solidFill>
                  <a:schemeClr val="tx2"/>
                </a:solidFill>
                <a:latin typeface="Arial Nova Light" panose="020B03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F855646-5681-4075-81F9-7EE31D7F86D2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04517" y="495481"/>
            <a:ext cx="11584586" cy="256260"/>
          </a:xfrm>
        </p:spPr>
        <p:txBody>
          <a:bodyPr/>
          <a:lstStyle>
            <a:lvl1pPr>
              <a:defRPr/>
            </a:lvl1pPr>
          </a:lstStyle>
          <a:p>
            <a:r>
              <a:rPr lang="en-US" sz="1632" kern="0">
                <a:solidFill>
                  <a:schemeClr val="tx1"/>
                </a:solidFill>
              </a:rPr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17926927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Reportaldemo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F66530A-DD24-411A-B42E-46F1307F4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1" y="1620"/>
          <a:ext cx="216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F66530A-DD24-411A-B42E-46F1307F4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0"/>
                        <a:ext cx="216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46140CC-3B3E-495B-BCFB-3737404C7CB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5979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AA042958-2DF9-455C-86B5-C1A016329792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652053" y="6640499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16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16" baseline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3" name="Table Placeholder 2">
            <a:extLst>
              <a:ext uri="{FF2B5EF4-FFF2-40B4-BE49-F238E27FC236}">
                <a16:creationId xmlns:a16="http://schemas.microsoft.com/office/drawing/2014/main" id="{37021756-C5E9-4212-9D18-BC3FA12C2F2C}"/>
              </a:ext>
            </a:extLst>
          </p:cNvPr>
          <p:cNvSpPr>
            <a:spLocks noGrp="1"/>
          </p:cNvSpPr>
          <p:nvPr>
            <p:ph type="tbl" sz="quarter" idx="17"/>
          </p:nvPr>
        </p:nvSpPr>
        <p:spPr>
          <a:xfrm>
            <a:off x="426130" y="613973"/>
            <a:ext cx="11402238" cy="5162792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  <p:sp>
        <p:nvSpPr>
          <p:cNvPr id="14" name="Checkme">
            <a:extLst>
              <a:ext uri="{FF2B5EF4-FFF2-40B4-BE49-F238E27FC236}">
                <a16:creationId xmlns:a16="http://schemas.microsoft.com/office/drawing/2014/main" id="{593E23A0-F4B7-4FDA-9D94-D631957C75E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36091" y="46896"/>
            <a:ext cx="3995607" cy="318146"/>
          </a:xfrm>
        </p:spPr>
        <p:txBody>
          <a:bodyPr/>
          <a:lstStyle>
            <a:lvl1pPr>
              <a:defRPr sz="1632"/>
            </a:lvl1pPr>
          </a:lstStyle>
          <a:p>
            <a:pPr lvl="0"/>
            <a:r>
              <a:rPr lang="en-US" sz="1837" err="1"/>
              <a:t>OutbyDemog</a:t>
            </a:r>
            <a:endParaRPr lang="en-US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C0D7C842-1D94-49B9-9086-B789F321299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943809" y="5929886"/>
            <a:ext cx="4157591" cy="2814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0044132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89606062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2123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55128890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3452223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38D18C3-132D-4EA9-A013-8C02F2367BA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>
              <a:solidFill>
                <a:schemeClr val="tx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611441" y="6340334"/>
            <a:ext cx="379578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>
                <a:solidFill>
                  <a:schemeClr val="accent6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611441" y="6493758"/>
            <a:ext cx="4038929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>
                <a:solidFill>
                  <a:schemeClr val="accent6"/>
                </a:solidFill>
                <a:latin typeface="+mn-lt"/>
              </a:rPr>
              <a:t>Last Modified 9/1/2021 9:10 AM Arab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611441" y="6647183"/>
            <a:ext cx="379578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900" baseline="0">
                <a:solidFill>
                  <a:schemeClr val="accent6"/>
                </a:solidFill>
                <a:latin typeface="+mn-lt"/>
              </a:rPr>
              <a:t>Printed 29/12/2019 07:18 Arab Standard Time</a:t>
            </a:r>
            <a:endParaRPr lang="en-US" sz="900" baseline="0">
              <a:solidFill>
                <a:schemeClr val="accent6"/>
              </a:solidFill>
              <a:latin typeface="+mn-lt"/>
            </a:endParaRPr>
          </a:p>
        </p:txBody>
      </p:sp>
      <p:cxnSp>
        <p:nvCxnSpPr>
          <p:cNvPr id="37" name="Straight Connector 36"/>
          <p:cNvCxnSpPr/>
          <p:nvPr userDrawn="1"/>
        </p:nvCxnSpPr>
        <p:spPr bwMode="auto">
          <a:xfrm>
            <a:off x="611441" y="6252508"/>
            <a:ext cx="5171091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</p:cxnSp>
      <p:sp>
        <p:nvSpPr>
          <p:cNvPr id="17" name="doc id"/>
          <p:cNvSpPr>
            <a:spLocks noChangeArrowheads="1"/>
          </p:cNvSpPr>
          <p:nvPr userDrawn="1"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auto">
          <a:xfrm>
            <a:off x="611441" y="5568928"/>
            <a:ext cx="60274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6E68F200-98BD-4196-9A6E-DA5F8EAF21DF}"/>
              </a:ext>
            </a:extLst>
          </p:cNvPr>
          <p:cNvPicPr>
            <a:picLocks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233258" y="6468512"/>
            <a:ext cx="2889060" cy="269232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Slide Number">
            <a:extLst>
              <a:ext uri="{FF2B5EF4-FFF2-40B4-BE49-F238E27FC236}">
                <a16:creationId xmlns:a16="http://schemas.microsoft.com/office/drawing/2014/main" id="{224BDBF2-7D42-4FBA-B4D2-F38435BF7B85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08061" y="6583245"/>
            <a:ext cx="150682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1000" baseline="0" smtClean="0">
                <a:solidFill>
                  <a:schemeClr val="tx1"/>
                </a:solidFill>
                <a:latin typeface="+mn-lt"/>
              </a:rPr>
              <a:pPr algn="r"/>
              <a:t>‹#›</a:t>
            </a:fld>
            <a:endParaRPr lang="en-US" sz="1000" baseline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1" name="Title Placeholder 2">
            <a:extLst>
              <a:ext uri="{FF2B5EF4-FFF2-40B4-BE49-F238E27FC236}">
                <a16:creationId xmlns:a16="http://schemas.microsoft.com/office/drawing/2014/main" id="{3991CDBB-090A-46BB-9168-BA7D4D993AF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33258" y="240563"/>
            <a:ext cx="11725485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C112D22-48BC-4CFF-B8B2-98DB8CEA6D53}"/>
              </a:ext>
            </a:extLst>
          </p:cNvPr>
          <p:cNvCxnSpPr/>
          <p:nvPr userDrawn="1"/>
        </p:nvCxnSpPr>
        <p:spPr bwMode="ltGray">
          <a:xfrm flipV="1">
            <a:off x="233263" y="6248688"/>
            <a:ext cx="11725480" cy="17939"/>
          </a:xfrm>
          <a:prstGeom prst="line">
            <a:avLst/>
          </a:prstGeom>
          <a:noFill/>
          <a:ln w="6350" cap="flat" cmpd="sng" algn="ctr">
            <a:solidFill>
              <a:srgbClr val="A5A5A5"/>
            </a:solidFill>
            <a:prstDash val="solid"/>
            <a:miter lim="800000"/>
          </a:ln>
          <a:effectLst/>
        </p:spPr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7D096888-0986-433D-A876-41F108CE93BD}"/>
              </a:ext>
            </a:extLst>
          </p:cNvPr>
          <p:cNvSpPr/>
          <p:nvPr userDrawn="1"/>
        </p:nvSpPr>
        <p:spPr bwMode="ltGray">
          <a:xfrm>
            <a:off x="10650379" y="6248684"/>
            <a:ext cx="1308360" cy="54688"/>
          </a:xfrm>
          <a:prstGeom prst="rect">
            <a:avLst/>
          </a:prstGeom>
          <a:solidFill>
            <a:srgbClr val="000000">
              <a:lumMod val="65000"/>
              <a:lumOff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F9E2FC7-9183-4B1A-AB5F-490BD9ECB3BF}"/>
              </a:ext>
            </a:extLst>
          </p:cNvPr>
          <p:cNvSpPr/>
          <p:nvPr userDrawn="1"/>
        </p:nvSpPr>
        <p:spPr bwMode="ltGray">
          <a:xfrm>
            <a:off x="233258" y="6257658"/>
            <a:ext cx="2960044" cy="45719"/>
          </a:xfrm>
          <a:prstGeom prst="rect">
            <a:avLst/>
          </a:prstGeom>
          <a:solidFill>
            <a:srgbClr val="000000">
              <a:lumMod val="65000"/>
              <a:lumOff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90165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"/>
            </p:custDataLst>
          </p:nvPr>
        </p:nvSpPr>
        <p:spPr>
          <a:xfrm>
            <a:off x="550800" y="6192267"/>
            <a:ext cx="683583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51941" y="5774658"/>
            <a:ext cx="683583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1942" y="2210324"/>
            <a:ext cx="6835830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AB0CD9-1BA9-EDB1-4A11-C080FA1DF1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2764188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AB0CD9-1BA9-EDB1-4A11-C080FA1DF1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8E58E711-6B1A-A4EE-E2D3-C799159CDD51}"/>
              </a:ext>
            </a:extLst>
          </p:cNvPr>
          <p:cNvGrpSpPr/>
          <p:nvPr userDrawn="1"/>
        </p:nvGrpSpPr>
        <p:grpSpPr bwMode="ltGray">
          <a:xfrm>
            <a:off x="-15898" y="-12038"/>
            <a:ext cx="12207898" cy="6870038"/>
            <a:chOff x="-15898" y="-12038"/>
            <a:chExt cx="12207898" cy="6870038"/>
          </a:xfrm>
        </p:grpSpPr>
        <p:pic>
          <p:nvPicPr>
            <p:cNvPr id="5" name="Picture 65" descr="About">
              <a:extLst>
                <a:ext uri="{FF2B5EF4-FFF2-40B4-BE49-F238E27FC236}">
                  <a16:creationId xmlns:a16="http://schemas.microsoft.com/office/drawing/2014/main" id="{39638C46-CEE4-DDFA-19AC-84AD1A43677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886" r="5521"/>
            <a:stretch/>
          </p:blipFill>
          <p:spPr bwMode="ltGray">
            <a:xfrm>
              <a:off x="-15898" y="0"/>
              <a:ext cx="12207898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E065A19-3D68-82C7-21F4-D09B8F4E36D3}"/>
                </a:ext>
              </a:extLst>
            </p:cNvPr>
            <p:cNvSpPr/>
            <p:nvPr/>
          </p:nvSpPr>
          <p:spPr bwMode="ltGray">
            <a:xfrm>
              <a:off x="-15898" y="0"/>
              <a:ext cx="12207898" cy="6858000"/>
            </a:xfrm>
            <a:prstGeom prst="rect">
              <a:avLst/>
            </a:prstGeom>
            <a:gradFill flip="none" rotWithShape="1">
              <a:gsLst>
                <a:gs pos="18000">
                  <a:srgbClr val="3F6B39">
                    <a:alpha val="86000"/>
                  </a:srgbClr>
                </a:gs>
                <a:gs pos="100000">
                  <a:srgbClr val="3F6B39">
                    <a:alpha val="35000"/>
                  </a:srgbClr>
                </a:gs>
              </a:gsLst>
              <a:lin ang="0" scaled="1"/>
              <a:tileRect/>
            </a:gradFill>
            <a:ln w="9525" cap="flat" cmpd="sng" algn="ctr">
              <a:solidFill>
                <a:srgbClr val="3F6B39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Group 1">
              <a:extLst>
                <a:ext uri="{FF2B5EF4-FFF2-40B4-BE49-F238E27FC236}">
                  <a16:creationId xmlns:a16="http://schemas.microsoft.com/office/drawing/2014/main" id="{C90B576D-2FB6-20CB-8320-2D5FE8639A90}"/>
                </a:ext>
              </a:extLst>
            </p:cNvPr>
            <p:cNvSpPr>
              <a:spLocks/>
            </p:cNvSpPr>
            <p:nvPr/>
          </p:nvSpPr>
          <p:spPr bwMode="ltGray">
            <a:xfrm>
              <a:off x="4591537" y="0"/>
              <a:ext cx="2363578" cy="1100931"/>
            </a:xfrm>
            <a:custGeom>
              <a:avLst/>
              <a:gdLst>
                <a:gd name="connsiteX0" fmla="*/ 0 w 2363578"/>
                <a:gd name="connsiteY0" fmla="*/ 0 h 1100931"/>
                <a:gd name="connsiteX1" fmla="*/ 1853488 w 2363578"/>
                <a:gd name="connsiteY1" fmla="*/ 0 h 1100931"/>
                <a:gd name="connsiteX2" fmla="*/ 2363578 w 2363578"/>
                <a:gd name="connsiteY2" fmla="*/ 1100931 h 1100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3578" h="1100931">
                  <a:moveTo>
                    <a:pt x="0" y="0"/>
                  </a:moveTo>
                  <a:lnTo>
                    <a:pt x="1853488" y="0"/>
                  </a:lnTo>
                  <a:lnTo>
                    <a:pt x="2363578" y="1100931"/>
                  </a:lnTo>
                  <a:close/>
                </a:path>
              </a:pathLst>
            </a:custGeom>
            <a:solidFill>
              <a:srgbClr val="FFFFFF">
                <a:alpha val="36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9" name="Freeform 34">
              <a:extLst>
                <a:ext uri="{FF2B5EF4-FFF2-40B4-BE49-F238E27FC236}">
                  <a16:creationId xmlns:a16="http://schemas.microsoft.com/office/drawing/2014/main" id="{8A49AE16-D8A4-3006-BAF3-E7EBDAAB51B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7057081" y="0"/>
              <a:ext cx="3369896" cy="1569243"/>
            </a:xfrm>
            <a:custGeom>
              <a:avLst/>
              <a:gdLst>
                <a:gd name="connsiteX0" fmla="*/ 0 w 3369896"/>
                <a:gd name="connsiteY0" fmla="*/ 0 h 1569243"/>
                <a:gd name="connsiteX1" fmla="*/ 2638619 w 3369896"/>
                <a:gd name="connsiteY1" fmla="*/ 0 h 1569243"/>
                <a:gd name="connsiteX2" fmla="*/ 3369896 w 3369896"/>
                <a:gd name="connsiteY2" fmla="*/ 1569243 h 156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9896" h="1569243">
                  <a:moveTo>
                    <a:pt x="0" y="0"/>
                  </a:moveTo>
                  <a:lnTo>
                    <a:pt x="2638619" y="0"/>
                  </a:lnTo>
                  <a:lnTo>
                    <a:pt x="3369896" y="1569243"/>
                  </a:lnTo>
                  <a:close/>
                </a:path>
              </a:pathLst>
            </a:custGeom>
            <a:solidFill>
              <a:srgbClr val="FFD100">
                <a:alpha val="49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Freeform 35">
              <a:extLst>
                <a:ext uri="{FF2B5EF4-FFF2-40B4-BE49-F238E27FC236}">
                  <a16:creationId xmlns:a16="http://schemas.microsoft.com/office/drawing/2014/main" id="{69533352-BF86-346F-5B6C-7A747A17BC73}"/>
                </a:ext>
              </a:extLst>
            </p:cNvPr>
            <p:cNvSpPr>
              <a:spLocks/>
            </p:cNvSpPr>
            <p:nvPr/>
          </p:nvSpPr>
          <p:spPr bwMode="ltGray">
            <a:xfrm>
              <a:off x="9696133" y="1"/>
              <a:ext cx="2495867" cy="2390792"/>
            </a:xfrm>
            <a:custGeom>
              <a:avLst/>
              <a:gdLst>
                <a:gd name="connsiteX0" fmla="*/ 0 w 2495867"/>
                <a:gd name="connsiteY0" fmla="*/ 0 h 2390792"/>
                <a:gd name="connsiteX1" fmla="*/ 2495867 w 2495867"/>
                <a:gd name="connsiteY1" fmla="*/ 0 h 2390792"/>
                <a:gd name="connsiteX2" fmla="*/ 2495867 w 2495867"/>
                <a:gd name="connsiteY2" fmla="*/ 2390792 h 2390792"/>
                <a:gd name="connsiteX3" fmla="*/ 731462 w 2495867"/>
                <a:gd name="connsiteY3" fmla="*/ 1569401 h 239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5867" h="2390792">
                  <a:moveTo>
                    <a:pt x="0" y="0"/>
                  </a:moveTo>
                  <a:lnTo>
                    <a:pt x="2495867" y="0"/>
                  </a:lnTo>
                  <a:lnTo>
                    <a:pt x="2495867" y="2390792"/>
                  </a:lnTo>
                  <a:lnTo>
                    <a:pt x="731462" y="1569401"/>
                  </a:lnTo>
                  <a:close/>
                </a:path>
              </a:pathLst>
            </a:custGeom>
            <a:solidFill>
              <a:srgbClr val="5D9E54">
                <a:alpha val="58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doc id">
              <a:extLst>
                <a:ext uri="{FF2B5EF4-FFF2-40B4-BE49-F238E27FC236}">
                  <a16:creationId xmlns:a16="http://schemas.microsoft.com/office/drawing/2014/main" id="{25775342-417E-83AE-F867-1336A03898EB}"/>
                </a:ext>
              </a:extLst>
            </p:cNvPr>
            <p:cNvSpPr>
              <a:spLocks noChangeArrowheads="1"/>
            </p:cNvSpPr>
            <p:nvPr/>
          </p:nvSpPr>
          <p:spPr bwMode="ltGray">
            <a:xfrm>
              <a:off x="11064591" y="51833"/>
              <a:ext cx="894152" cy="1247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marL="0" marR="0" lvl="0" indent="0" algn="r" defTabSz="9135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16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CE562F68-D570-4CA4-D906-B2DC50C8C045}"/>
                </a:ext>
              </a:extLst>
            </p:cNvPr>
            <p:cNvSpPr>
              <a:spLocks/>
            </p:cNvSpPr>
            <p:nvPr/>
          </p:nvSpPr>
          <p:spPr bwMode="ltGray">
            <a:xfrm>
              <a:off x="10427596" y="1569403"/>
              <a:ext cx="1764404" cy="3834145"/>
            </a:xfrm>
            <a:custGeom>
              <a:avLst/>
              <a:gdLst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519830 w 2519830"/>
                <a:gd name="connsiteY2" fmla="*/ 1 h 5403547"/>
                <a:gd name="connsiteX3" fmla="*/ 23964 w 2519830"/>
                <a:gd name="connsiteY3" fmla="*/ 1 h 5403547"/>
                <a:gd name="connsiteX4" fmla="*/ 755426 w 2519830"/>
                <a:gd name="connsiteY4" fmla="*/ 1569402 h 5403547"/>
                <a:gd name="connsiteX5" fmla="*/ 2519830 w 2519830"/>
                <a:gd name="connsiteY5" fmla="*/ 2390793 h 5403547"/>
                <a:gd name="connsiteX6" fmla="*/ 2519830 w 2519830"/>
                <a:gd name="connsiteY6" fmla="*/ 5403547 h 5403547"/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3964 w 2519830"/>
                <a:gd name="connsiteY2" fmla="*/ 1 h 5403547"/>
                <a:gd name="connsiteX3" fmla="*/ 755426 w 2519830"/>
                <a:gd name="connsiteY3" fmla="*/ 1569402 h 5403547"/>
                <a:gd name="connsiteX4" fmla="*/ 2519830 w 2519830"/>
                <a:gd name="connsiteY4" fmla="*/ 2390793 h 5403547"/>
                <a:gd name="connsiteX5" fmla="*/ 2519830 w 2519830"/>
                <a:gd name="connsiteY5" fmla="*/ 5403547 h 5403547"/>
                <a:gd name="connsiteX6" fmla="*/ 0 w 2519830"/>
                <a:gd name="connsiteY6" fmla="*/ 0 h 5403547"/>
                <a:gd name="connsiteX0" fmla="*/ 0 w 2519830"/>
                <a:gd name="connsiteY0" fmla="*/ 0 h 5403547"/>
                <a:gd name="connsiteX1" fmla="*/ 23964 w 2519830"/>
                <a:gd name="connsiteY1" fmla="*/ 1 h 5403547"/>
                <a:gd name="connsiteX2" fmla="*/ 755426 w 2519830"/>
                <a:gd name="connsiteY2" fmla="*/ 1569402 h 5403547"/>
                <a:gd name="connsiteX3" fmla="*/ 2519830 w 2519830"/>
                <a:gd name="connsiteY3" fmla="*/ 2390793 h 5403547"/>
                <a:gd name="connsiteX4" fmla="*/ 2519830 w 2519830"/>
                <a:gd name="connsiteY4" fmla="*/ 5403547 h 5403547"/>
                <a:gd name="connsiteX5" fmla="*/ 0 w 2519830"/>
                <a:gd name="connsiteY5" fmla="*/ 0 h 5403547"/>
                <a:gd name="connsiteX0" fmla="*/ 2495866 w 2495866"/>
                <a:gd name="connsiteY0" fmla="*/ 5403546 h 5403546"/>
                <a:gd name="connsiteX1" fmla="*/ 0 w 2495866"/>
                <a:gd name="connsiteY1" fmla="*/ 0 h 5403546"/>
                <a:gd name="connsiteX2" fmla="*/ 731462 w 2495866"/>
                <a:gd name="connsiteY2" fmla="*/ 1569401 h 5403546"/>
                <a:gd name="connsiteX3" fmla="*/ 2495866 w 2495866"/>
                <a:gd name="connsiteY3" fmla="*/ 2390792 h 5403546"/>
                <a:gd name="connsiteX4" fmla="*/ 2495866 w 2495866"/>
                <a:gd name="connsiteY4" fmla="*/ 5403546 h 5403546"/>
                <a:gd name="connsiteX0" fmla="*/ 1764404 w 1764404"/>
                <a:gd name="connsiteY0" fmla="*/ 3834145 h 3834145"/>
                <a:gd name="connsiteX1" fmla="*/ 0 w 1764404"/>
                <a:gd name="connsiteY1" fmla="*/ 0 h 3834145"/>
                <a:gd name="connsiteX2" fmla="*/ 1764404 w 1764404"/>
                <a:gd name="connsiteY2" fmla="*/ 821391 h 3834145"/>
                <a:gd name="connsiteX3" fmla="*/ 1764404 w 1764404"/>
                <a:gd name="connsiteY3" fmla="*/ 3834145 h 3834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64404" h="3834145">
                  <a:moveTo>
                    <a:pt x="1764404" y="3834145"/>
                  </a:moveTo>
                  <a:lnTo>
                    <a:pt x="0" y="0"/>
                  </a:lnTo>
                  <a:lnTo>
                    <a:pt x="1764404" y="821391"/>
                  </a:lnTo>
                  <a:lnTo>
                    <a:pt x="1764404" y="3834145"/>
                  </a:lnTo>
                  <a:close/>
                </a:path>
              </a:pathLst>
            </a:custGeom>
            <a:solidFill>
              <a:srgbClr val="FFD100">
                <a:alpha val="49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43F07E6A-EA10-8C4D-90C9-836A9EA4321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 bwMode="ltGray">
            <a:xfrm>
              <a:off x="611441" y="542924"/>
              <a:ext cx="2688569" cy="841321"/>
            </a:xfrm>
            <a:prstGeom prst="rect">
              <a:avLst/>
            </a:prstGeom>
          </p:spPr>
        </p:pic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945212F-1B29-DA1E-BB6C-ACBFC42B1273}"/>
                </a:ext>
              </a:extLst>
            </p:cNvPr>
            <p:cNvSpPr>
              <a:spLocks/>
            </p:cNvSpPr>
            <p:nvPr/>
          </p:nvSpPr>
          <p:spPr bwMode="ltGray">
            <a:xfrm>
              <a:off x="6443063" y="-12038"/>
              <a:ext cx="5474706" cy="4825984"/>
            </a:xfrm>
            <a:custGeom>
              <a:avLst/>
              <a:gdLst>
                <a:gd name="connsiteX0" fmla="*/ 0 w 5474706"/>
                <a:gd name="connsiteY0" fmla="*/ 0 h 4825984"/>
                <a:gd name="connsiteX1" fmla="*/ 610810 w 5474706"/>
                <a:gd name="connsiteY1" fmla="*/ 0 h 4825984"/>
                <a:gd name="connsiteX2" fmla="*/ 3981656 w 5474706"/>
                <a:gd name="connsiteY2" fmla="*/ 1569869 h 4825984"/>
                <a:gd name="connsiteX3" fmla="*/ 3982923 w 5474706"/>
                <a:gd name="connsiteY3" fmla="*/ 1572586 h 4825984"/>
                <a:gd name="connsiteX4" fmla="*/ 3976086 w 5474706"/>
                <a:gd name="connsiteY4" fmla="*/ 1569403 h 4825984"/>
                <a:gd name="connsiteX5" fmla="*/ 5474706 w 5474706"/>
                <a:gd name="connsiteY5" fmla="*/ 4825984 h 4825984"/>
                <a:gd name="connsiteX6" fmla="*/ 1349206 w 5474706"/>
                <a:gd name="connsiteY6" fmla="*/ 2911232 h 4825984"/>
                <a:gd name="connsiteX7" fmla="*/ 510415 w 5474706"/>
                <a:gd name="connsiteY7" fmla="*/ 1101566 h 4825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474706" h="4825984">
                  <a:moveTo>
                    <a:pt x="0" y="0"/>
                  </a:moveTo>
                  <a:lnTo>
                    <a:pt x="610810" y="0"/>
                  </a:lnTo>
                  <a:lnTo>
                    <a:pt x="3981656" y="1569869"/>
                  </a:lnTo>
                  <a:lnTo>
                    <a:pt x="3982923" y="1572586"/>
                  </a:lnTo>
                  <a:lnTo>
                    <a:pt x="3976086" y="1569403"/>
                  </a:lnTo>
                  <a:lnTo>
                    <a:pt x="5474706" y="4825984"/>
                  </a:lnTo>
                  <a:lnTo>
                    <a:pt x="1349206" y="2911232"/>
                  </a:lnTo>
                  <a:lnTo>
                    <a:pt x="510415" y="1101566"/>
                  </a:lnTo>
                  <a:close/>
                </a:path>
              </a:pathLst>
            </a:custGeom>
            <a:solidFill>
              <a:srgbClr val="5D9E54">
                <a:alpha val="58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9628204E-9659-C3ED-0BAC-90A8166C265D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99397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7647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3B0E45EA-7BE5-442F-9560-4747E835161F}"/>
              </a:ext>
            </a:extLst>
          </p:cNvPr>
          <p:cNvSpPr/>
          <p:nvPr/>
        </p:nvSpPr>
        <p:spPr bwMode="ltGray">
          <a:xfrm>
            <a:off x="0" y="5819792"/>
            <a:ext cx="12191999" cy="1038208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1FE66A3-9B4F-48DD-973A-A48B59160229}"/>
              </a:ext>
            </a:extLst>
          </p:cNvPr>
          <p:cNvGrpSpPr/>
          <p:nvPr/>
        </p:nvGrpSpPr>
        <p:grpSpPr bwMode="ltGray">
          <a:xfrm>
            <a:off x="4591537" y="0"/>
            <a:ext cx="7600463" cy="5403547"/>
            <a:chOff x="4591537" y="0"/>
            <a:chExt cx="7600463" cy="5403547"/>
          </a:xfrm>
        </p:grpSpPr>
        <p:sp>
          <p:nvSpPr>
            <p:cNvPr id="20" name="Freeform 31">
              <a:extLst>
                <a:ext uri="{FF2B5EF4-FFF2-40B4-BE49-F238E27FC236}">
                  <a16:creationId xmlns:a16="http://schemas.microsoft.com/office/drawing/2014/main" id="{90667E4D-EBC4-4CC1-9855-F12F3B69DC10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672169" y="0"/>
              <a:ext cx="2519830" cy="5403547"/>
            </a:xfrm>
            <a:custGeom>
              <a:avLst/>
              <a:gdLst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519830 w 2519830"/>
                <a:gd name="connsiteY2" fmla="*/ 5403547 h 5403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19830" h="5403547">
                  <a:moveTo>
                    <a:pt x="0" y="0"/>
                  </a:moveTo>
                  <a:lnTo>
                    <a:pt x="2519830" y="0"/>
                  </a:lnTo>
                  <a:lnTo>
                    <a:pt x="2519830" y="5403547"/>
                  </a:lnTo>
                  <a:close/>
                </a:path>
              </a:pathLst>
            </a:custGeom>
            <a:solidFill>
              <a:srgbClr val="AAD3A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21" name="Freeform 32">
              <a:extLst>
                <a:ext uri="{FF2B5EF4-FFF2-40B4-BE49-F238E27FC236}">
                  <a16:creationId xmlns:a16="http://schemas.microsoft.com/office/drawing/2014/main" id="{909150F0-9D58-4AFD-98FE-1555B44A5F76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4591537" y="0"/>
              <a:ext cx="2363578" cy="1100931"/>
            </a:xfrm>
            <a:custGeom>
              <a:avLst/>
              <a:gdLst>
                <a:gd name="connsiteX0" fmla="*/ 0 w 2363578"/>
                <a:gd name="connsiteY0" fmla="*/ 0 h 1100931"/>
                <a:gd name="connsiteX1" fmla="*/ 1853488 w 2363578"/>
                <a:gd name="connsiteY1" fmla="*/ 0 h 1100931"/>
                <a:gd name="connsiteX2" fmla="*/ 2363578 w 2363578"/>
                <a:gd name="connsiteY2" fmla="*/ 1100931 h 1100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3578" h="1100931">
                  <a:moveTo>
                    <a:pt x="0" y="0"/>
                  </a:moveTo>
                  <a:lnTo>
                    <a:pt x="1853488" y="0"/>
                  </a:lnTo>
                  <a:lnTo>
                    <a:pt x="2363578" y="1100931"/>
                  </a:lnTo>
                  <a:close/>
                </a:path>
              </a:pathLst>
            </a:custGeom>
            <a:solidFill>
              <a:srgbClr val="E7F2E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22" name="Freeform 33">
              <a:extLst>
                <a:ext uri="{FF2B5EF4-FFF2-40B4-BE49-F238E27FC236}">
                  <a16:creationId xmlns:a16="http://schemas.microsoft.com/office/drawing/2014/main" id="{00B217CA-FF7A-4694-A075-3719822C89B1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6445332" y="0"/>
              <a:ext cx="5507233" cy="4841081"/>
            </a:xfrm>
            <a:custGeom>
              <a:avLst/>
              <a:gdLst>
                <a:gd name="connsiteX0" fmla="*/ 0 w 5507233"/>
                <a:gd name="connsiteY0" fmla="*/ 0 h 4841081"/>
                <a:gd name="connsiteX1" fmla="*/ 610810 w 5507233"/>
                <a:gd name="connsiteY1" fmla="*/ 0 h 4841081"/>
                <a:gd name="connsiteX2" fmla="*/ 3981656 w 5507233"/>
                <a:gd name="connsiteY2" fmla="*/ 1569869 h 4841081"/>
                <a:gd name="connsiteX3" fmla="*/ 4665678 w 5507233"/>
                <a:gd name="connsiteY3" fmla="*/ 3036941 h 4841081"/>
                <a:gd name="connsiteX4" fmla="*/ 5507233 w 5507233"/>
                <a:gd name="connsiteY4" fmla="*/ 4841081 h 4841081"/>
                <a:gd name="connsiteX5" fmla="*/ 1349206 w 5507233"/>
                <a:gd name="connsiteY5" fmla="*/ 2911232 h 4841081"/>
                <a:gd name="connsiteX6" fmla="*/ 510415 w 5507233"/>
                <a:gd name="connsiteY6" fmla="*/ 1101566 h 4841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07233" h="4841081">
                  <a:moveTo>
                    <a:pt x="0" y="0"/>
                  </a:moveTo>
                  <a:lnTo>
                    <a:pt x="610810" y="0"/>
                  </a:lnTo>
                  <a:lnTo>
                    <a:pt x="3981656" y="1569869"/>
                  </a:lnTo>
                  <a:lnTo>
                    <a:pt x="4665678" y="3036941"/>
                  </a:lnTo>
                  <a:lnTo>
                    <a:pt x="5507233" y="4841081"/>
                  </a:lnTo>
                  <a:lnTo>
                    <a:pt x="1349206" y="2911232"/>
                  </a:lnTo>
                  <a:lnTo>
                    <a:pt x="510415" y="1101566"/>
                  </a:lnTo>
                  <a:close/>
                </a:path>
              </a:pathLst>
            </a:custGeom>
            <a:solidFill>
              <a:srgbClr val="C1DEC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23" name="Freeform 34">
              <a:extLst>
                <a:ext uri="{FF2B5EF4-FFF2-40B4-BE49-F238E27FC236}">
                  <a16:creationId xmlns:a16="http://schemas.microsoft.com/office/drawing/2014/main" id="{6E869E1F-0114-4B5B-BC21-BF57D030D68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7057081" y="0"/>
              <a:ext cx="3369896" cy="1569243"/>
            </a:xfrm>
            <a:custGeom>
              <a:avLst/>
              <a:gdLst>
                <a:gd name="connsiteX0" fmla="*/ 0 w 3369896"/>
                <a:gd name="connsiteY0" fmla="*/ 0 h 1569243"/>
                <a:gd name="connsiteX1" fmla="*/ 2638619 w 3369896"/>
                <a:gd name="connsiteY1" fmla="*/ 0 h 1569243"/>
                <a:gd name="connsiteX2" fmla="*/ 3369896 w 3369896"/>
                <a:gd name="connsiteY2" fmla="*/ 1569243 h 156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9896" h="1569243">
                  <a:moveTo>
                    <a:pt x="0" y="0"/>
                  </a:moveTo>
                  <a:lnTo>
                    <a:pt x="2638619" y="0"/>
                  </a:lnTo>
                  <a:lnTo>
                    <a:pt x="3369896" y="1569243"/>
                  </a:lnTo>
                  <a:close/>
                </a:path>
              </a:pathLst>
            </a:custGeom>
            <a:solidFill>
              <a:srgbClr val="8AC5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24" name="Freeform 35">
              <a:extLst>
                <a:ext uri="{FF2B5EF4-FFF2-40B4-BE49-F238E27FC236}">
                  <a16:creationId xmlns:a16="http://schemas.microsoft.com/office/drawing/2014/main" id="{17B1DBF2-4A23-4E11-BF69-602D78790FDD}"/>
                </a:ext>
              </a:extLst>
            </p:cNvPr>
            <p:cNvSpPr>
              <a:spLocks/>
            </p:cNvSpPr>
            <p:nvPr/>
          </p:nvSpPr>
          <p:spPr bwMode="ltGray">
            <a:xfrm>
              <a:off x="9696133" y="1"/>
              <a:ext cx="2495867" cy="2390792"/>
            </a:xfrm>
            <a:custGeom>
              <a:avLst/>
              <a:gdLst>
                <a:gd name="connsiteX0" fmla="*/ 0 w 2495867"/>
                <a:gd name="connsiteY0" fmla="*/ 0 h 2390792"/>
                <a:gd name="connsiteX1" fmla="*/ 2495867 w 2495867"/>
                <a:gd name="connsiteY1" fmla="*/ 0 h 2390792"/>
                <a:gd name="connsiteX2" fmla="*/ 2495867 w 2495867"/>
                <a:gd name="connsiteY2" fmla="*/ 2390792 h 2390792"/>
                <a:gd name="connsiteX3" fmla="*/ 731462 w 2495867"/>
                <a:gd name="connsiteY3" fmla="*/ 1569401 h 239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5867" h="2390792">
                  <a:moveTo>
                    <a:pt x="0" y="0"/>
                  </a:moveTo>
                  <a:lnTo>
                    <a:pt x="2495867" y="0"/>
                  </a:lnTo>
                  <a:lnTo>
                    <a:pt x="2495867" y="2390792"/>
                  </a:lnTo>
                  <a:lnTo>
                    <a:pt x="731462" y="1569401"/>
                  </a:lnTo>
                  <a:close/>
                </a:path>
              </a:pathLst>
            </a:custGeom>
            <a:solidFill>
              <a:srgbClr val="CEE5C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</p:grpSp>
      <p:pic>
        <p:nvPicPr>
          <p:cNvPr id="25" name="Picture 24">
            <a:extLst>
              <a:ext uri="{FF2B5EF4-FFF2-40B4-BE49-F238E27FC236}">
                <a16:creationId xmlns:a16="http://schemas.microsoft.com/office/drawing/2014/main" id="{21E4B8CD-8C13-4621-8127-1565EDA8861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 bwMode="ltGray">
          <a:xfrm>
            <a:off x="611441" y="542924"/>
            <a:ext cx="2688569" cy="841321"/>
          </a:xfrm>
          <a:prstGeom prst="rect">
            <a:avLst/>
          </a:prstGeom>
        </p:spPr>
      </p:pic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112F0FC-3EBB-4F50-B895-1F89E7AEBAF7}"/>
              </a:ext>
            </a:extLst>
          </p:cNvPr>
          <p:cNvCxnSpPr/>
          <p:nvPr/>
        </p:nvCxnSpPr>
        <p:spPr bwMode="ltGray">
          <a:xfrm>
            <a:off x="611441" y="6252508"/>
            <a:ext cx="5171091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</p:cxn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2561414"/>
            <a:ext cx="6760464" cy="1354217"/>
          </a:xfrm>
        </p:spPr>
        <p:txBody>
          <a:bodyPr vert="horz" anchor="b" anchorCtr="0">
            <a:noAutofit/>
          </a:bodyPr>
          <a:lstStyle>
            <a:lvl1pPr rtl="0"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29" name="Subtitle">
            <a:extLst>
              <a:ext uri="{FF2B5EF4-FFF2-40B4-BE49-F238E27FC236}">
                <a16:creationId xmlns:a16="http://schemas.microsoft.com/office/drawing/2014/main" id="{3BB216A9-7249-4DED-83E2-F9EA93C16100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1941" y="4024099"/>
            <a:ext cx="6760464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07965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8BCAF1-0DFA-4348-8905-15EC744D5BCC}" type="datetime1">
              <a:rPr lang="en-US" smtClean="0"/>
              <a:t>11/6/20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BEBEBE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20"/>
              <a:t>Page </a:t>
            </a:r>
            <a:r>
              <a:rPr spc="-30"/>
              <a:t>|</a:t>
            </a:r>
            <a:r>
              <a:rPr spc="150"/>
              <a:t> </a:t>
            </a:r>
            <a:fld id="{81D60167-4931-47E6-BA6A-407CBD079E47}" type="slidenum">
              <a:rPr spc="-30" dirty="0"/>
              <a:t>‹#›</a:t>
            </a:fld>
            <a:endParaRPr spc="-30"/>
          </a:p>
        </p:txBody>
      </p:sp>
    </p:spTree>
    <p:extLst>
      <p:ext uri="{BB962C8B-B14F-4D97-AF65-F5344CB8AC3E}">
        <p14:creationId xmlns:p14="http://schemas.microsoft.com/office/powerpoint/2010/main" val="120338622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graphicFrame>
        <p:nvGraphicFramePr>
          <p:cNvPr id="2" name="Object 6" hidden="1">
            <a:extLst>
              <a:ext uri="{FF2B5EF4-FFF2-40B4-BE49-F238E27FC236}">
                <a16:creationId xmlns:a16="http://schemas.microsoft.com/office/drawing/2014/main" id="{92C269B7-8CC9-12AD-22BA-C0833C0559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327626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2" name="Object 6" hidden="1">
                        <a:extLst>
                          <a:ext uri="{FF2B5EF4-FFF2-40B4-BE49-F238E27FC236}">
                            <a16:creationId xmlns:a16="http://schemas.microsoft.com/office/drawing/2014/main" id="{92C269B7-8CC9-12AD-22BA-C0833C0559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EB1C1276-7C36-4B90-E2FA-9DDE37A58B08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482B7AD4-3A20-417A-CE32-E74B55061B9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83ACE5CF-47AE-4813-D59C-1AC343E48991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4547406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00" b="0" i="0">
                <a:solidFill>
                  <a:srgbClr val="87C58F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852932" y="1578991"/>
            <a:ext cx="4142104" cy="41636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50" b="0" i="0">
                <a:solidFill>
                  <a:srgbClr val="383838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FF5514-D660-4B1E-BA2F-9D326DCA87F5}" type="datetime1">
              <a:rPr lang="en-US" smtClean="0"/>
              <a:t>11/6/2023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BEBEBE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20"/>
              <a:t>Page </a:t>
            </a:r>
            <a:r>
              <a:rPr spc="-30"/>
              <a:t>|</a:t>
            </a:r>
            <a:r>
              <a:rPr spc="150"/>
              <a:t> </a:t>
            </a:r>
            <a:fld id="{81D60167-4931-47E6-BA6A-407CBD079E47}" type="slidenum">
              <a:rPr spc="-30" dirty="0"/>
              <a:t>‹#›</a:t>
            </a:fld>
            <a:endParaRPr spc="-30"/>
          </a:p>
        </p:txBody>
      </p:sp>
    </p:spTree>
    <p:extLst>
      <p:ext uri="{BB962C8B-B14F-4D97-AF65-F5344CB8AC3E}">
        <p14:creationId xmlns:p14="http://schemas.microsoft.com/office/powerpoint/2010/main" val="201134899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-Colour-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PH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8200" y="1825625"/>
            <a:ext cx="10515600" cy="4013315"/>
          </a:xfrm>
        </p:spPr>
        <p:txBody>
          <a:bodyPr/>
          <a:lstStyle>
            <a:lvl1pPr>
              <a:defRPr sz="20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PH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4" hasCustomPrompt="1"/>
          </p:nvPr>
        </p:nvSpPr>
        <p:spPr>
          <a:xfrm>
            <a:off x="838199" y="6299646"/>
            <a:ext cx="9930249" cy="257767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kern="700" spc="0" baseline="0">
                <a:solidFill>
                  <a:srgbClr val="00B050"/>
                </a:solidFill>
                <a:latin typeface="Teshrin AR+LT Bold" panose="02000000000000000000" pitchFamily="50" charset="-78"/>
                <a:ea typeface="Teshrin AR+LT Bold" panose="02000000000000000000" pitchFamily="50" charset="-78"/>
                <a:cs typeface="Teshrin AR+LT Bold" panose="02000000000000000000" pitchFamily="50" charset="-78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n-US" sz="12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  I </a:t>
            </a:r>
            <a:r>
              <a:rPr lang="ar-SA" sz="1200" b="1" dirty="0">
                <a:solidFill>
                  <a:srgbClr val="00B050"/>
                </a:solidFill>
                <a:latin typeface="HelveticaNeueLT Arabic 55 Roman" panose="020B0604020202020204" pitchFamily="34" charset="-78"/>
                <a:cs typeface="HelveticaNeueLT Arabic 55 Roman" panose="020B0604020202020204" pitchFamily="34" charset="-78"/>
              </a:rPr>
              <a:t>العوان</a:t>
            </a:r>
            <a:endParaRPr lang="en-PH" sz="1200" b="1" dirty="0">
              <a:solidFill>
                <a:srgbClr val="00B050"/>
              </a:solidFill>
              <a:latin typeface="HelveticaNeueLT Arabic 55 Roman" panose="020B0604020202020204" pitchFamily="34" charset="-78"/>
              <a:cs typeface="HelveticaNeueLT Arabic 55 Roman" panose="020B0604020202020204" pitchFamily="34" charset="-78"/>
            </a:endParaRP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13" hasCustomPrompt="1"/>
          </p:nvPr>
        </p:nvSpPr>
        <p:spPr>
          <a:xfrm>
            <a:off x="838200" y="6072704"/>
            <a:ext cx="9930249" cy="2188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kern="700" spc="0" baseline="0">
                <a:solidFill>
                  <a:srgbClr val="112C45"/>
                </a:solidFill>
                <a:latin typeface="Teshrin AR+LT Bold" panose="02000000000000000000" pitchFamily="50" charset="-78"/>
                <a:ea typeface="Teshrin AR+LT Bold" panose="02000000000000000000" pitchFamily="50" charset="-78"/>
                <a:cs typeface="Teshrin AR+LT Bold" panose="02000000000000000000" pitchFamily="50" charset="-78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24</a:t>
            </a:r>
            <a:r>
              <a:rPr lang="en-US" sz="1200" baseline="30000" dirty="0"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September 2019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10968" y="5997701"/>
            <a:ext cx="1235180" cy="650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199412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639822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38D18C3-132D-4EA9-A013-8C02F2367BA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err="1">
              <a:solidFill>
                <a:schemeClr val="tx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591537" y="0"/>
            <a:ext cx="7600463" cy="5403547"/>
            <a:chOff x="4591537" y="0"/>
            <a:chExt cx="7600463" cy="5403547"/>
          </a:xfrm>
        </p:grpSpPr>
        <p:sp>
          <p:nvSpPr>
            <p:cNvPr id="32" name="Freeform 31"/>
            <p:cNvSpPr>
              <a:spLocks/>
            </p:cNvSpPr>
            <p:nvPr userDrawn="1"/>
          </p:nvSpPr>
          <p:spPr bwMode="ltGray">
            <a:xfrm>
              <a:off x="9672169" y="0"/>
              <a:ext cx="2519830" cy="5403547"/>
            </a:xfrm>
            <a:custGeom>
              <a:avLst/>
              <a:gdLst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519830 w 2519830"/>
                <a:gd name="connsiteY2" fmla="*/ 5403547 h 5403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19830" h="5403547">
                  <a:moveTo>
                    <a:pt x="0" y="0"/>
                  </a:moveTo>
                  <a:lnTo>
                    <a:pt x="2519830" y="0"/>
                  </a:lnTo>
                  <a:lnTo>
                    <a:pt x="2519830" y="5403547"/>
                  </a:lnTo>
                  <a:close/>
                </a:path>
              </a:pathLst>
            </a:custGeom>
            <a:solidFill>
              <a:srgbClr val="AAD3A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ltGray">
            <a:xfrm>
              <a:off x="4591537" y="0"/>
              <a:ext cx="2363578" cy="1100931"/>
            </a:xfrm>
            <a:custGeom>
              <a:avLst/>
              <a:gdLst>
                <a:gd name="connsiteX0" fmla="*/ 0 w 2363578"/>
                <a:gd name="connsiteY0" fmla="*/ 0 h 1100931"/>
                <a:gd name="connsiteX1" fmla="*/ 1853488 w 2363578"/>
                <a:gd name="connsiteY1" fmla="*/ 0 h 1100931"/>
                <a:gd name="connsiteX2" fmla="*/ 2363578 w 2363578"/>
                <a:gd name="connsiteY2" fmla="*/ 1100931 h 1100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3578" h="1100931">
                  <a:moveTo>
                    <a:pt x="0" y="0"/>
                  </a:moveTo>
                  <a:lnTo>
                    <a:pt x="1853488" y="0"/>
                  </a:lnTo>
                  <a:lnTo>
                    <a:pt x="2363578" y="1100931"/>
                  </a:lnTo>
                  <a:close/>
                </a:path>
              </a:pathLst>
            </a:custGeom>
            <a:solidFill>
              <a:srgbClr val="E7F2E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ltGray">
            <a:xfrm>
              <a:off x="6445332" y="0"/>
              <a:ext cx="5507233" cy="4841081"/>
            </a:xfrm>
            <a:custGeom>
              <a:avLst/>
              <a:gdLst>
                <a:gd name="connsiteX0" fmla="*/ 0 w 5507233"/>
                <a:gd name="connsiteY0" fmla="*/ 0 h 4841081"/>
                <a:gd name="connsiteX1" fmla="*/ 610810 w 5507233"/>
                <a:gd name="connsiteY1" fmla="*/ 0 h 4841081"/>
                <a:gd name="connsiteX2" fmla="*/ 3981656 w 5507233"/>
                <a:gd name="connsiteY2" fmla="*/ 1569869 h 4841081"/>
                <a:gd name="connsiteX3" fmla="*/ 4665678 w 5507233"/>
                <a:gd name="connsiteY3" fmla="*/ 3036941 h 4841081"/>
                <a:gd name="connsiteX4" fmla="*/ 5507233 w 5507233"/>
                <a:gd name="connsiteY4" fmla="*/ 4841081 h 4841081"/>
                <a:gd name="connsiteX5" fmla="*/ 1349206 w 5507233"/>
                <a:gd name="connsiteY5" fmla="*/ 2911232 h 4841081"/>
                <a:gd name="connsiteX6" fmla="*/ 510415 w 5507233"/>
                <a:gd name="connsiteY6" fmla="*/ 1101566 h 4841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07233" h="4841081">
                  <a:moveTo>
                    <a:pt x="0" y="0"/>
                  </a:moveTo>
                  <a:lnTo>
                    <a:pt x="610810" y="0"/>
                  </a:lnTo>
                  <a:lnTo>
                    <a:pt x="3981656" y="1569869"/>
                  </a:lnTo>
                  <a:lnTo>
                    <a:pt x="4665678" y="3036941"/>
                  </a:lnTo>
                  <a:lnTo>
                    <a:pt x="5507233" y="4841081"/>
                  </a:lnTo>
                  <a:lnTo>
                    <a:pt x="1349206" y="2911232"/>
                  </a:lnTo>
                  <a:lnTo>
                    <a:pt x="510415" y="1101566"/>
                  </a:lnTo>
                  <a:close/>
                </a:path>
              </a:pathLst>
            </a:custGeom>
            <a:solidFill>
              <a:srgbClr val="C1DEC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ltGray">
            <a:xfrm>
              <a:off x="7057081" y="0"/>
              <a:ext cx="3369896" cy="1569243"/>
            </a:xfrm>
            <a:custGeom>
              <a:avLst/>
              <a:gdLst>
                <a:gd name="connsiteX0" fmla="*/ 0 w 3369896"/>
                <a:gd name="connsiteY0" fmla="*/ 0 h 1569243"/>
                <a:gd name="connsiteX1" fmla="*/ 2638619 w 3369896"/>
                <a:gd name="connsiteY1" fmla="*/ 0 h 1569243"/>
                <a:gd name="connsiteX2" fmla="*/ 3369896 w 3369896"/>
                <a:gd name="connsiteY2" fmla="*/ 1569243 h 156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9896" h="1569243">
                  <a:moveTo>
                    <a:pt x="0" y="0"/>
                  </a:moveTo>
                  <a:lnTo>
                    <a:pt x="2638619" y="0"/>
                  </a:lnTo>
                  <a:lnTo>
                    <a:pt x="3369896" y="1569243"/>
                  </a:lnTo>
                  <a:close/>
                </a:path>
              </a:pathLst>
            </a:custGeom>
            <a:solidFill>
              <a:srgbClr val="8AC5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ltGray">
            <a:xfrm>
              <a:off x="9696133" y="1"/>
              <a:ext cx="2495867" cy="2390792"/>
            </a:xfrm>
            <a:custGeom>
              <a:avLst/>
              <a:gdLst>
                <a:gd name="connsiteX0" fmla="*/ 0 w 2495867"/>
                <a:gd name="connsiteY0" fmla="*/ 0 h 2390792"/>
                <a:gd name="connsiteX1" fmla="*/ 2495867 w 2495867"/>
                <a:gd name="connsiteY1" fmla="*/ 0 h 2390792"/>
                <a:gd name="connsiteX2" fmla="*/ 2495867 w 2495867"/>
                <a:gd name="connsiteY2" fmla="*/ 2390792 h 2390792"/>
                <a:gd name="connsiteX3" fmla="*/ 731462 w 2495867"/>
                <a:gd name="connsiteY3" fmla="*/ 1569401 h 239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5867" h="2390792">
                  <a:moveTo>
                    <a:pt x="0" y="0"/>
                  </a:moveTo>
                  <a:lnTo>
                    <a:pt x="2495867" y="0"/>
                  </a:lnTo>
                  <a:lnTo>
                    <a:pt x="2495867" y="2390792"/>
                  </a:lnTo>
                  <a:lnTo>
                    <a:pt x="731462" y="1569401"/>
                  </a:lnTo>
                  <a:close/>
                </a:path>
              </a:pathLst>
            </a:custGeom>
            <a:solidFill>
              <a:srgbClr val="CEE5C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</p:grp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611441" y="6340334"/>
            <a:ext cx="379578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>
                <a:solidFill>
                  <a:schemeClr val="accent6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611441" y="6493758"/>
            <a:ext cx="4038929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>
                <a:solidFill>
                  <a:schemeClr val="accent6"/>
                </a:solidFill>
                <a:latin typeface="+mn-lt"/>
              </a:rPr>
              <a:t>Last Modified 9/1/2021 9:10 AM Arab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611441" y="6647183"/>
            <a:ext cx="379578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900" baseline="0">
                <a:solidFill>
                  <a:schemeClr val="accent6"/>
                </a:solidFill>
                <a:latin typeface="+mn-lt"/>
              </a:rPr>
              <a:t>Printed 29/12/2019 07:18 Arab Standard Time</a:t>
            </a:r>
            <a:endParaRPr lang="en-US" sz="900" baseline="0">
              <a:solidFill>
                <a:schemeClr val="accent6"/>
              </a:solidFill>
              <a:latin typeface="+mn-lt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ltGray">
          <a:xfrm>
            <a:off x="611441" y="542924"/>
            <a:ext cx="2688569" cy="841321"/>
          </a:xfrm>
          <a:prstGeom prst="rect">
            <a:avLst/>
          </a:prstGeom>
        </p:spPr>
      </p:pic>
      <p:cxnSp>
        <p:nvCxnSpPr>
          <p:cNvPr id="37" name="Straight Connector 36"/>
          <p:cNvCxnSpPr/>
          <p:nvPr userDrawn="1"/>
        </p:nvCxnSpPr>
        <p:spPr bwMode="auto">
          <a:xfrm>
            <a:off x="611441" y="6252508"/>
            <a:ext cx="5171091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</p:cxnSp>
      <p:sp>
        <p:nvSpPr>
          <p:cNvPr id="17" name="doc id"/>
          <p:cNvSpPr>
            <a:spLocks noChangeArrowheads="1"/>
          </p:cNvSpPr>
          <p:nvPr userDrawn="1"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611441" y="2384443"/>
            <a:ext cx="6027484" cy="55399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sz="3600" b="1" baseline="0">
                <a:solidFill>
                  <a:schemeClr val="accent3">
                    <a:lumMod val="75000"/>
                  </a:schemeClr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611442" y="4099796"/>
            <a:ext cx="6027484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0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auto">
          <a:xfrm>
            <a:off x="611441" y="5568928"/>
            <a:ext cx="60274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302821218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50469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oc id"/>
          <p:cNvSpPr>
            <a:spLocks noChangeArrowheads="1"/>
          </p:cNvSpPr>
          <p:nvPr userDrawn="1"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779967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90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03718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doc id"/>
          <p:cNvSpPr>
            <a:spLocks noChangeArrowheads="1"/>
          </p:cNvSpPr>
          <p:nvPr userDrawn="1"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0700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412">
          <p15:clr>
            <a:srgbClr val="000000"/>
          </p15:clr>
        </p15:guide>
        <p15:guide id="2" orient="horz" pos="582">
          <p15:clr>
            <a:srgbClr val="000000"/>
          </p15:clr>
        </p15:guide>
        <p15:guide id="3" orient="horz" pos="3991">
          <p15:clr>
            <a:srgbClr val="000000"/>
          </p15:clr>
        </p15:guide>
        <p15:guide id="4" pos="98">
          <p15:clr>
            <a:srgbClr val="00000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C974E7-A1D3-41A5-B97E-54F405541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1D8BF6-4A3A-451A-9E9B-03D5BB4DC73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975106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"/>
            </p:custDataLst>
          </p:nvPr>
        </p:nvSpPr>
        <p:spPr>
          <a:xfrm>
            <a:off x="550800" y="6192267"/>
            <a:ext cx="683583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51941" y="5774658"/>
            <a:ext cx="683583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1942" y="2210324"/>
            <a:ext cx="6835830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AB0CD9-1BA9-EDB1-4A11-C080FA1DF1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2764188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AB0CD9-1BA9-EDB1-4A11-C080FA1DF1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8E58E711-6B1A-A4EE-E2D3-C799159CDD51}"/>
              </a:ext>
            </a:extLst>
          </p:cNvPr>
          <p:cNvGrpSpPr/>
          <p:nvPr userDrawn="1"/>
        </p:nvGrpSpPr>
        <p:grpSpPr bwMode="ltGray">
          <a:xfrm>
            <a:off x="-15898" y="-12038"/>
            <a:ext cx="12207898" cy="6870038"/>
            <a:chOff x="-15898" y="-12038"/>
            <a:chExt cx="12207898" cy="6870038"/>
          </a:xfrm>
        </p:grpSpPr>
        <p:pic>
          <p:nvPicPr>
            <p:cNvPr id="5" name="Picture 65" descr="About">
              <a:extLst>
                <a:ext uri="{FF2B5EF4-FFF2-40B4-BE49-F238E27FC236}">
                  <a16:creationId xmlns:a16="http://schemas.microsoft.com/office/drawing/2014/main" id="{39638C46-CEE4-DDFA-19AC-84AD1A43677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886" r="5521"/>
            <a:stretch/>
          </p:blipFill>
          <p:spPr bwMode="ltGray">
            <a:xfrm>
              <a:off x="-15898" y="0"/>
              <a:ext cx="12207898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E065A19-3D68-82C7-21F4-D09B8F4E36D3}"/>
                </a:ext>
              </a:extLst>
            </p:cNvPr>
            <p:cNvSpPr/>
            <p:nvPr/>
          </p:nvSpPr>
          <p:spPr bwMode="ltGray">
            <a:xfrm>
              <a:off x="-15898" y="0"/>
              <a:ext cx="12207898" cy="6858000"/>
            </a:xfrm>
            <a:prstGeom prst="rect">
              <a:avLst/>
            </a:prstGeom>
            <a:gradFill flip="none" rotWithShape="1">
              <a:gsLst>
                <a:gs pos="18000">
                  <a:srgbClr val="3F6B39">
                    <a:alpha val="86000"/>
                  </a:srgbClr>
                </a:gs>
                <a:gs pos="100000">
                  <a:srgbClr val="3F6B39">
                    <a:alpha val="35000"/>
                  </a:srgbClr>
                </a:gs>
              </a:gsLst>
              <a:lin ang="0" scaled="1"/>
              <a:tileRect/>
            </a:gradFill>
            <a:ln w="9525" cap="flat" cmpd="sng" algn="ctr">
              <a:solidFill>
                <a:srgbClr val="3F6B39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Group 1">
              <a:extLst>
                <a:ext uri="{FF2B5EF4-FFF2-40B4-BE49-F238E27FC236}">
                  <a16:creationId xmlns:a16="http://schemas.microsoft.com/office/drawing/2014/main" id="{C90B576D-2FB6-20CB-8320-2D5FE8639A90}"/>
                </a:ext>
              </a:extLst>
            </p:cNvPr>
            <p:cNvSpPr>
              <a:spLocks/>
            </p:cNvSpPr>
            <p:nvPr/>
          </p:nvSpPr>
          <p:spPr bwMode="ltGray">
            <a:xfrm>
              <a:off x="4591537" y="0"/>
              <a:ext cx="2363578" cy="1100931"/>
            </a:xfrm>
            <a:custGeom>
              <a:avLst/>
              <a:gdLst>
                <a:gd name="connsiteX0" fmla="*/ 0 w 2363578"/>
                <a:gd name="connsiteY0" fmla="*/ 0 h 1100931"/>
                <a:gd name="connsiteX1" fmla="*/ 1853488 w 2363578"/>
                <a:gd name="connsiteY1" fmla="*/ 0 h 1100931"/>
                <a:gd name="connsiteX2" fmla="*/ 2363578 w 2363578"/>
                <a:gd name="connsiteY2" fmla="*/ 1100931 h 1100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3578" h="1100931">
                  <a:moveTo>
                    <a:pt x="0" y="0"/>
                  </a:moveTo>
                  <a:lnTo>
                    <a:pt x="1853488" y="0"/>
                  </a:lnTo>
                  <a:lnTo>
                    <a:pt x="2363578" y="1100931"/>
                  </a:lnTo>
                  <a:close/>
                </a:path>
              </a:pathLst>
            </a:custGeom>
            <a:solidFill>
              <a:srgbClr val="FFFFFF">
                <a:alpha val="36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9" name="Freeform 34">
              <a:extLst>
                <a:ext uri="{FF2B5EF4-FFF2-40B4-BE49-F238E27FC236}">
                  <a16:creationId xmlns:a16="http://schemas.microsoft.com/office/drawing/2014/main" id="{8A49AE16-D8A4-3006-BAF3-E7EBDAAB51B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7057081" y="0"/>
              <a:ext cx="3369896" cy="1569243"/>
            </a:xfrm>
            <a:custGeom>
              <a:avLst/>
              <a:gdLst>
                <a:gd name="connsiteX0" fmla="*/ 0 w 3369896"/>
                <a:gd name="connsiteY0" fmla="*/ 0 h 1569243"/>
                <a:gd name="connsiteX1" fmla="*/ 2638619 w 3369896"/>
                <a:gd name="connsiteY1" fmla="*/ 0 h 1569243"/>
                <a:gd name="connsiteX2" fmla="*/ 3369896 w 3369896"/>
                <a:gd name="connsiteY2" fmla="*/ 1569243 h 156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9896" h="1569243">
                  <a:moveTo>
                    <a:pt x="0" y="0"/>
                  </a:moveTo>
                  <a:lnTo>
                    <a:pt x="2638619" y="0"/>
                  </a:lnTo>
                  <a:lnTo>
                    <a:pt x="3369896" y="1569243"/>
                  </a:lnTo>
                  <a:close/>
                </a:path>
              </a:pathLst>
            </a:custGeom>
            <a:solidFill>
              <a:srgbClr val="FFD100">
                <a:alpha val="49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Freeform 35">
              <a:extLst>
                <a:ext uri="{FF2B5EF4-FFF2-40B4-BE49-F238E27FC236}">
                  <a16:creationId xmlns:a16="http://schemas.microsoft.com/office/drawing/2014/main" id="{69533352-BF86-346F-5B6C-7A747A17BC73}"/>
                </a:ext>
              </a:extLst>
            </p:cNvPr>
            <p:cNvSpPr>
              <a:spLocks/>
            </p:cNvSpPr>
            <p:nvPr/>
          </p:nvSpPr>
          <p:spPr bwMode="ltGray">
            <a:xfrm>
              <a:off x="9696133" y="1"/>
              <a:ext cx="2495867" cy="2390792"/>
            </a:xfrm>
            <a:custGeom>
              <a:avLst/>
              <a:gdLst>
                <a:gd name="connsiteX0" fmla="*/ 0 w 2495867"/>
                <a:gd name="connsiteY0" fmla="*/ 0 h 2390792"/>
                <a:gd name="connsiteX1" fmla="*/ 2495867 w 2495867"/>
                <a:gd name="connsiteY1" fmla="*/ 0 h 2390792"/>
                <a:gd name="connsiteX2" fmla="*/ 2495867 w 2495867"/>
                <a:gd name="connsiteY2" fmla="*/ 2390792 h 2390792"/>
                <a:gd name="connsiteX3" fmla="*/ 731462 w 2495867"/>
                <a:gd name="connsiteY3" fmla="*/ 1569401 h 239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5867" h="2390792">
                  <a:moveTo>
                    <a:pt x="0" y="0"/>
                  </a:moveTo>
                  <a:lnTo>
                    <a:pt x="2495867" y="0"/>
                  </a:lnTo>
                  <a:lnTo>
                    <a:pt x="2495867" y="2390792"/>
                  </a:lnTo>
                  <a:lnTo>
                    <a:pt x="731462" y="1569401"/>
                  </a:lnTo>
                  <a:close/>
                </a:path>
              </a:pathLst>
            </a:custGeom>
            <a:solidFill>
              <a:srgbClr val="5D9E54">
                <a:alpha val="58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doc id">
              <a:extLst>
                <a:ext uri="{FF2B5EF4-FFF2-40B4-BE49-F238E27FC236}">
                  <a16:creationId xmlns:a16="http://schemas.microsoft.com/office/drawing/2014/main" id="{25775342-417E-83AE-F867-1336A03898EB}"/>
                </a:ext>
              </a:extLst>
            </p:cNvPr>
            <p:cNvSpPr>
              <a:spLocks noChangeArrowheads="1"/>
            </p:cNvSpPr>
            <p:nvPr/>
          </p:nvSpPr>
          <p:spPr bwMode="ltGray">
            <a:xfrm>
              <a:off x="11064591" y="51833"/>
              <a:ext cx="894152" cy="1247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marL="0" marR="0" lvl="0" indent="0" algn="r" defTabSz="9135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16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CE562F68-D570-4CA4-D906-B2DC50C8C045}"/>
                </a:ext>
              </a:extLst>
            </p:cNvPr>
            <p:cNvSpPr>
              <a:spLocks/>
            </p:cNvSpPr>
            <p:nvPr/>
          </p:nvSpPr>
          <p:spPr bwMode="ltGray">
            <a:xfrm>
              <a:off x="10427596" y="1569403"/>
              <a:ext cx="1764404" cy="3834145"/>
            </a:xfrm>
            <a:custGeom>
              <a:avLst/>
              <a:gdLst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519830 w 2519830"/>
                <a:gd name="connsiteY2" fmla="*/ 1 h 5403547"/>
                <a:gd name="connsiteX3" fmla="*/ 23964 w 2519830"/>
                <a:gd name="connsiteY3" fmla="*/ 1 h 5403547"/>
                <a:gd name="connsiteX4" fmla="*/ 755426 w 2519830"/>
                <a:gd name="connsiteY4" fmla="*/ 1569402 h 5403547"/>
                <a:gd name="connsiteX5" fmla="*/ 2519830 w 2519830"/>
                <a:gd name="connsiteY5" fmla="*/ 2390793 h 5403547"/>
                <a:gd name="connsiteX6" fmla="*/ 2519830 w 2519830"/>
                <a:gd name="connsiteY6" fmla="*/ 5403547 h 5403547"/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3964 w 2519830"/>
                <a:gd name="connsiteY2" fmla="*/ 1 h 5403547"/>
                <a:gd name="connsiteX3" fmla="*/ 755426 w 2519830"/>
                <a:gd name="connsiteY3" fmla="*/ 1569402 h 5403547"/>
                <a:gd name="connsiteX4" fmla="*/ 2519830 w 2519830"/>
                <a:gd name="connsiteY4" fmla="*/ 2390793 h 5403547"/>
                <a:gd name="connsiteX5" fmla="*/ 2519830 w 2519830"/>
                <a:gd name="connsiteY5" fmla="*/ 5403547 h 5403547"/>
                <a:gd name="connsiteX6" fmla="*/ 0 w 2519830"/>
                <a:gd name="connsiteY6" fmla="*/ 0 h 5403547"/>
                <a:gd name="connsiteX0" fmla="*/ 0 w 2519830"/>
                <a:gd name="connsiteY0" fmla="*/ 0 h 5403547"/>
                <a:gd name="connsiteX1" fmla="*/ 23964 w 2519830"/>
                <a:gd name="connsiteY1" fmla="*/ 1 h 5403547"/>
                <a:gd name="connsiteX2" fmla="*/ 755426 w 2519830"/>
                <a:gd name="connsiteY2" fmla="*/ 1569402 h 5403547"/>
                <a:gd name="connsiteX3" fmla="*/ 2519830 w 2519830"/>
                <a:gd name="connsiteY3" fmla="*/ 2390793 h 5403547"/>
                <a:gd name="connsiteX4" fmla="*/ 2519830 w 2519830"/>
                <a:gd name="connsiteY4" fmla="*/ 5403547 h 5403547"/>
                <a:gd name="connsiteX5" fmla="*/ 0 w 2519830"/>
                <a:gd name="connsiteY5" fmla="*/ 0 h 5403547"/>
                <a:gd name="connsiteX0" fmla="*/ 2495866 w 2495866"/>
                <a:gd name="connsiteY0" fmla="*/ 5403546 h 5403546"/>
                <a:gd name="connsiteX1" fmla="*/ 0 w 2495866"/>
                <a:gd name="connsiteY1" fmla="*/ 0 h 5403546"/>
                <a:gd name="connsiteX2" fmla="*/ 731462 w 2495866"/>
                <a:gd name="connsiteY2" fmla="*/ 1569401 h 5403546"/>
                <a:gd name="connsiteX3" fmla="*/ 2495866 w 2495866"/>
                <a:gd name="connsiteY3" fmla="*/ 2390792 h 5403546"/>
                <a:gd name="connsiteX4" fmla="*/ 2495866 w 2495866"/>
                <a:gd name="connsiteY4" fmla="*/ 5403546 h 5403546"/>
                <a:gd name="connsiteX0" fmla="*/ 1764404 w 1764404"/>
                <a:gd name="connsiteY0" fmla="*/ 3834145 h 3834145"/>
                <a:gd name="connsiteX1" fmla="*/ 0 w 1764404"/>
                <a:gd name="connsiteY1" fmla="*/ 0 h 3834145"/>
                <a:gd name="connsiteX2" fmla="*/ 1764404 w 1764404"/>
                <a:gd name="connsiteY2" fmla="*/ 821391 h 3834145"/>
                <a:gd name="connsiteX3" fmla="*/ 1764404 w 1764404"/>
                <a:gd name="connsiteY3" fmla="*/ 3834145 h 3834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64404" h="3834145">
                  <a:moveTo>
                    <a:pt x="1764404" y="3834145"/>
                  </a:moveTo>
                  <a:lnTo>
                    <a:pt x="0" y="0"/>
                  </a:lnTo>
                  <a:lnTo>
                    <a:pt x="1764404" y="821391"/>
                  </a:lnTo>
                  <a:lnTo>
                    <a:pt x="1764404" y="3834145"/>
                  </a:lnTo>
                  <a:close/>
                </a:path>
              </a:pathLst>
            </a:custGeom>
            <a:solidFill>
              <a:srgbClr val="FFD100">
                <a:alpha val="49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43F07E6A-EA10-8C4D-90C9-836A9EA4321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 bwMode="ltGray">
            <a:xfrm>
              <a:off x="611441" y="542924"/>
              <a:ext cx="2688569" cy="841321"/>
            </a:xfrm>
            <a:prstGeom prst="rect">
              <a:avLst/>
            </a:prstGeom>
          </p:spPr>
        </p:pic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945212F-1B29-DA1E-BB6C-ACBFC42B1273}"/>
                </a:ext>
              </a:extLst>
            </p:cNvPr>
            <p:cNvSpPr>
              <a:spLocks/>
            </p:cNvSpPr>
            <p:nvPr/>
          </p:nvSpPr>
          <p:spPr bwMode="ltGray">
            <a:xfrm>
              <a:off x="6443063" y="-12038"/>
              <a:ext cx="5474706" cy="4825984"/>
            </a:xfrm>
            <a:custGeom>
              <a:avLst/>
              <a:gdLst>
                <a:gd name="connsiteX0" fmla="*/ 0 w 5474706"/>
                <a:gd name="connsiteY0" fmla="*/ 0 h 4825984"/>
                <a:gd name="connsiteX1" fmla="*/ 610810 w 5474706"/>
                <a:gd name="connsiteY1" fmla="*/ 0 h 4825984"/>
                <a:gd name="connsiteX2" fmla="*/ 3981656 w 5474706"/>
                <a:gd name="connsiteY2" fmla="*/ 1569869 h 4825984"/>
                <a:gd name="connsiteX3" fmla="*/ 3982923 w 5474706"/>
                <a:gd name="connsiteY3" fmla="*/ 1572586 h 4825984"/>
                <a:gd name="connsiteX4" fmla="*/ 3976086 w 5474706"/>
                <a:gd name="connsiteY4" fmla="*/ 1569403 h 4825984"/>
                <a:gd name="connsiteX5" fmla="*/ 5474706 w 5474706"/>
                <a:gd name="connsiteY5" fmla="*/ 4825984 h 4825984"/>
                <a:gd name="connsiteX6" fmla="*/ 1349206 w 5474706"/>
                <a:gd name="connsiteY6" fmla="*/ 2911232 h 4825984"/>
                <a:gd name="connsiteX7" fmla="*/ 510415 w 5474706"/>
                <a:gd name="connsiteY7" fmla="*/ 1101566 h 4825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474706" h="4825984">
                  <a:moveTo>
                    <a:pt x="0" y="0"/>
                  </a:moveTo>
                  <a:lnTo>
                    <a:pt x="610810" y="0"/>
                  </a:lnTo>
                  <a:lnTo>
                    <a:pt x="3981656" y="1569869"/>
                  </a:lnTo>
                  <a:lnTo>
                    <a:pt x="3982923" y="1572586"/>
                  </a:lnTo>
                  <a:lnTo>
                    <a:pt x="3976086" y="1569403"/>
                  </a:lnTo>
                  <a:lnTo>
                    <a:pt x="5474706" y="4825984"/>
                  </a:lnTo>
                  <a:lnTo>
                    <a:pt x="1349206" y="2911232"/>
                  </a:lnTo>
                  <a:lnTo>
                    <a:pt x="510415" y="1101566"/>
                  </a:lnTo>
                  <a:close/>
                </a:path>
              </a:pathLst>
            </a:custGeom>
            <a:solidFill>
              <a:srgbClr val="5D9E54">
                <a:alpha val="58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9628204E-9659-C3ED-0BAC-90A8166C265D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880181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F410B2-D16A-4459-A59C-B8C755147317}" type="datetime1">
              <a:rPr lang="en-US" smtClean="0"/>
              <a:t>11/6/20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BEBEBE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20"/>
              <a:t>Page </a:t>
            </a:r>
            <a:r>
              <a:rPr spc="-30"/>
              <a:t>|</a:t>
            </a:r>
            <a:r>
              <a:rPr spc="150"/>
              <a:t> </a:t>
            </a:r>
            <a:fld id="{81D60167-4931-47E6-BA6A-407CBD079E47}" type="slidenum">
              <a:rPr spc="-30" dirty="0"/>
              <a:t>‹#›</a:t>
            </a:fld>
            <a:endParaRPr spc="-30"/>
          </a:p>
        </p:txBody>
      </p:sp>
    </p:spTree>
    <p:extLst>
      <p:ext uri="{BB962C8B-B14F-4D97-AF65-F5344CB8AC3E}">
        <p14:creationId xmlns:p14="http://schemas.microsoft.com/office/powerpoint/2010/main" val="40720625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6805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FC6334AE-8D78-4A76-A627-5E9B347EF0CE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362988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graphicFrame>
        <p:nvGraphicFramePr>
          <p:cNvPr id="2" name="Object 6" hidden="1">
            <a:extLst>
              <a:ext uri="{FF2B5EF4-FFF2-40B4-BE49-F238E27FC236}">
                <a16:creationId xmlns:a16="http://schemas.microsoft.com/office/drawing/2014/main" id="{92C269B7-8CC9-12AD-22BA-C0833C0559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327626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2" name="Object 6" hidden="1">
                        <a:extLst>
                          <a:ext uri="{FF2B5EF4-FFF2-40B4-BE49-F238E27FC236}">
                            <a16:creationId xmlns:a16="http://schemas.microsoft.com/office/drawing/2014/main" id="{92C269B7-8CC9-12AD-22BA-C0833C0559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EB1C1276-7C36-4B90-E2FA-9DDE37A58B08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482B7AD4-3A20-417A-CE32-E74B55061B9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83ACE5CF-47AE-4813-D59C-1AC343E48991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63626302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00" b="0" i="0">
                <a:solidFill>
                  <a:srgbClr val="87C58F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852932" y="1578991"/>
            <a:ext cx="4142104" cy="41636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50" b="0" i="0">
                <a:solidFill>
                  <a:srgbClr val="383838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2C375C-1FED-4E71-8F40-2826D292AA24}" type="datetime1">
              <a:rPr lang="en-US" smtClean="0"/>
              <a:t>11/6/2023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BEBEBE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20"/>
              <a:t>Page </a:t>
            </a:r>
            <a:r>
              <a:rPr spc="-30"/>
              <a:t>|</a:t>
            </a:r>
            <a:r>
              <a:rPr spc="150"/>
              <a:t> </a:t>
            </a:r>
            <a:fld id="{81D60167-4931-47E6-BA6A-407CBD079E47}" type="slidenum">
              <a:rPr spc="-30" dirty="0"/>
              <a:t>‹#›</a:t>
            </a:fld>
            <a:endParaRPr spc="-30"/>
          </a:p>
        </p:txBody>
      </p:sp>
    </p:spTree>
    <p:extLst>
      <p:ext uri="{BB962C8B-B14F-4D97-AF65-F5344CB8AC3E}">
        <p14:creationId xmlns:p14="http://schemas.microsoft.com/office/powerpoint/2010/main" val="101425598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0747723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38D18C3-132D-4EA9-A013-8C02F2367BA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err="1">
              <a:solidFill>
                <a:schemeClr val="tx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591537" y="0"/>
            <a:ext cx="7600463" cy="5403547"/>
            <a:chOff x="4591537" y="0"/>
            <a:chExt cx="7600463" cy="5403547"/>
          </a:xfrm>
        </p:grpSpPr>
        <p:sp>
          <p:nvSpPr>
            <p:cNvPr id="32" name="Freeform 31"/>
            <p:cNvSpPr>
              <a:spLocks/>
            </p:cNvSpPr>
            <p:nvPr userDrawn="1"/>
          </p:nvSpPr>
          <p:spPr bwMode="ltGray">
            <a:xfrm>
              <a:off x="9672169" y="0"/>
              <a:ext cx="2519830" cy="5403547"/>
            </a:xfrm>
            <a:custGeom>
              <a:avLst/>
              <a:gdLst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519830 w 2519830"/>
                <a:gd name="connsiteY2" fmla="*/ 5403547 h 5403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19830" h="5403547">
                  <a:moveTo>
                    <a:pt x="0" y="0"/>
                  </a:moveTo>
                  <a:lnTo>
                    <a:pt x="2519830" y="0"/>
                  </a:lnTo>
                  <a:lnTo>
                    <a:pt x="2519830" y="5403547"/>
                  </a:lnTo>
                  <a:close/>
                </a:path>
              </a:pathLst>
            </a:custGeom>
            <a:solidFill>
              <a:srgbClr val="AAD3A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ltGray">
            <a:xfrm>
              <a:off x="4591537" y="0"/>
              <a:ext cx="2363578" cy="1100931"/>
            </a:xfrm>
            <a:custGeom>
              <a:avLst/>
              <a:gdLst>
                <a:gd name="connsiteX0" fmla="*/ 0 w 2363578"/>
                <a:gd name="connsiteY0" fmla="*/ 0 h 1100931"/>
                <a:gd name="connsiteX1" fmla="*/ 1853488 w 2363578"/>
                <a:gd name="connsiteY1" fmla="*/ 0 h 1100931"/>
                <a:gd name="connsiteX2" fmla="*/ 2363578 w 2363578"/>
                <a:gd name="connsiteY2" fmla="*/ 1100931 h 1100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3578" h="1100931">
                  <a:moveTo>
                    <a:pt x="0" y="0"/>
                  </a:moveTo>
                  <a:lnTo>
                    <a:pt x="1853488" y="0"/>
                  </a:lnTo>
                  <a:lnTo>
                    <a:pt x="2363578" y="1100931"/>
                  </a:lnTo>
                  <a:close/>
                </a:path>
              </a:pathLst>
            </a:custGeom>
            <a:solidFill>
              <a:srgbClr val="E7F2E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ltGray">
            <a:xfrm>
              <a:off x="6445332" y="0"/>
              <a:ext cx="5507233" cy="4841081"/>
            </a:xfrm>
            <a:custGeom>
              <a:avLst/>
              <a:gdLst>
                <a:gd name="connsiteX0" fmla="*/ 0 w 5507233"/>
                <a:gd name="connsiteY0" fmla="*/ 0 h 4841081"/>
                <a:gd name="connsiteX1" fmla="*/ 610810 w 5507233"/>
                <a:gd name="connsiteY1" fmla="*/ 0 h 4841081"/>
                <a:gd name="connsiteX2" fmla="*/ 3981656 w 5507233"/>
                <a:gd name="connsiteY2" fmla="*/ 1569869 h 4841081"/>
                <a:gd name="connsiteX3" fmla="*/ 4665678 w 5507233"/>
                <a:gd name="connsiteY3" fmla="*/ 3036941 h 4841081"/>
                <a:gd name="connsiteX4" fmla="*/ 5507233 w 5507233"/>
                <a:gd name="connsiteY4" fmla="*/ 4841081 h 4841081"/>
                <a:gd name="connsiteX5" fmla="*/ 1349206 w 5507233"/>
                <a:gd name="connsiteY5" fmla="*/ 2911232 h 4841081"/>
                <a:gd name="connsiteX6" fmla="*/ 510415 w 5507233"/>
                <a:gd name="connsiteY6" fmla="*/ 1101566 h 4841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07233" h="4841081">
                  <a:moveTo>
                    <a:pt x="0" y="0"/>
                  </a:moveTo>
                  <a:lnTo>
                    <a:pt x="610810" y="0"/>
                  </a:lnTo>
                  <a:lnTo>
                    <a:pt x="3981656" y="1569869"/>
                  </a:lnTo>
                  <a:lnTo>
                    <a:pt x="4665678" y="3036941"/>
                  </a:lnTo>
                  <a:lnTo>
                    <a:pt x="5507233" y="4841081"/>
                  </a:lnTo>
                  <a:lnTo>
                    <a:pt x="1349206" y="2911232"/>
                  </a:lnTo>
                  <a:lnTo>
                    <a:pt x="510415" y="1101566"/>
                  </a:lnTo>
                  <a:close/>
                </a:path>
              </a:pathLst>
            </a:custGeom>
            <a:solidFill>
              <a:srgbClr val="C1DEC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ltGray">
            <a:xfrm>
              <a:off x="7057081" y="0"/>
              <a:ext cx="3369896" cy="1569243"/>
            </a:xfrm>
            <a:custGeom>
              <a:avLst/>
              <a:gdLst>
                <a:gd name="connsiteX0" fmla="*/ 0 w 3369896"/>
                <a:gd name="connsiteY0" fmla="*/ 0 h 1569243"/>
                <a:gd name="connsiteX1" fmla="*/ 2638619 w 3369896"/>
                <a:gd name="connsiteY1" fmla="*/ 0 h 1569243"/>
                <a:gd name="connsiteX2" fmla="*/ 3369896 w 3369896"/>
                <a:gd name="connsiteY2" fmla="*/ 1569243 h 156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9896" h="1569243">
                  <a:moveTo>
                    <a:pt x="0" y="0"/>
                  </a:moveTo>
                  <a:lnTo>
                    <a:pt x="2638619" y="0"/>
                  </a:lnTo>
                  <a:lnTo>
                    <a:pt x="3369896" y="1569243"/>
                  </a:lnTo>
                  <a:close/>
                </a:path>
              </a:pathLst>
            </a:custGeom>
            <a:solidFill>
              <a:srgbClr val="8AC5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ltGray">
            <a:xfrm>
              <a:off x="9696133" y="1"/>
              <a:ext cx="2495867" cy="2390792"/>
            </a:xfrm>
            <a:custGeom>
              <a:avLst/>
              <a:gdLst>
                <a:gd name="connsiteX0" fmla="*/ 0 w 2495867"/>
                <a:gd name="connsiteY0" fmla="*/ 0 h 2390792"/>
                <a:gd name="connsiteX1" fmla="*/ 2495867 w 2495867"/>
                <a:gd name="connsiteY1" fmla="*/ 0 h 2390792"/>
                <a:gd name="connsiteX2" fmla="*/ 2495867 w 2495867"/>
                <a:gd name="connsiteY2" fmla="*/ 2390792 h 2390792"/>
                <a:gd name="connsiteX3" fmla="*/ 731462 w 2495867"/>
                <a:gd name="connsiteY3" fmla="*/ 1569401 h 239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5867" h="2390792">
                  <a:moveTo>
                    <a:pt x="0" y="0"/>
                  </a:moveTo>
                  <a:lnTo>
                    <a:pt x="2495867" y="0"/>
                  </a:lnTo>
                  <a:lnTo>
                    <a:pt x="2495867" y="2390792"/>
                  </a:lnTo>
                  <a:lnTo>
                    <a:pt x="731462" y="1569401"/>
                  </a:lnTo>
                  <a:close/>
                </a:path>
              </a:pathLst>
            </a:custGeom>
            <a:solidFill>
              <a:srgbClr val="CEE5C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</p:grp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611441" y="6340334"/>
            <a:ext cx="379578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>
                <a:solidFill>
                  <a:schemeClr val="accent6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611441" y="6493758"/>
            <a:ext cx="4038929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>
                <a:solidFill>
                  <a:schemeClr val="accent6"/>
                </a:solidFill>
                <a:latin typeface="+mn-lt"/>
              </a:rPr>
              <a:t>Last Modified 9/1/2021 9:10 AM Arab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611441" y="6647183"/>
            <a:ext cx="379578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900" baseline="0">
                <a:solidFill>
                  <a:schemeClr val="accent6"/>
                </a:solidFill>
                <a:latin typeface="+mn-lt"/>
              </a:rPr>
              <a:t>Printed 29/12/2019 07:18 Arab Standard Time</a:t>
            </a:r>
            <a:endParaRPr lang="en-US" sz="900" baseline="0">
              <a:solidFill>
                <a:schemeClr val="accent6"/>
              </a:solidFill>
              <a:latin typeface="+mn-lt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ltGray">
          <a:xfrm>
            <a:off x="611441" y="542924"/>
            <a:ext cx="2688569" cy="841321"/>
          </a:xfrm>
          <a:prstGeom prst="rect">
            <a:avLst/>
          </a:prstGeom>
        </p:spPr>
      </p:pic>
      <p:cxnSp>
        <p:nvCxnSpPr>
          <p:cNvPr id="37" name="Straight Connector 36"/>
          <p:cNvCxnSpPr/>
          <p:nvPr userDrawn="1"/>
        </p:nvCxnSpPr>
        <p:spPr bwMode="auto">
          <a:xfrm>
            <a:off x="611441" y="6252508"/>
            <a:ext cx="5171091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</p:cxnSp>
      <p:sp>
        <p:nvSpPr>
          <p:cNvPr id="17" name="doc id"/>
          <p:cNvSpPr>
            <a:spLocks noChangeArrowheads="1"/>
          </p:cNvSpPr>
          <p:nvPr userDrawn="1"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611441" y="2384443"/>
            <a:ext cx="6027484" cy="55399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sz="3600" b="1" baseline="0">
                <a:solidFill>
                  <a:schemeClr val="accent3">
                    <a:lumMod val="75000"/>
                  </a:schemeClr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611442" y="4099796"/>
            <a:ext cx="6027484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0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auto">
          <a:xfrm>
            <a:off x="611441" y="5568928"/>
            <a:ext cx="60274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174185644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52040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oc id"/>
          <p:cNvSpPr>
            <a:spLocks noChangeArrowheads="1"/>
          </p:cNvSpPr>
          <p:nvPr userDrawn="1"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648727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90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87326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doc id"/>
          <p:cNvSpPr>
            <a:spLocks noChangeArrowheads="1"/>
          </p:cNvSpPr>
          <p:nvPr userDrawn="1"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42746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412">
          <p15:clr>
            <a:srgbClr val="000000"/>
          </p15:clr>
        </p15:guide>
        <p15:guide id="2" orient="horz" pos="582">
          <p15:clr>
            <a:srgbClr val="000000"/>
          </p15:clr>
        </p15:guide>
        <p15:guide id="3" orient="horz" pos="3991">
          <p15:clr>
            <a:srgbClr val="000000"/>
          </p15:clr>
        </p15:guide>
        <p15:guide id="4" pos="98">
          <p15:clr>
            <a:srgbClr val="00000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C974E7-A1D3-41A5-B97E-54F405541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1D8BF6-4A3A-451A-9E9B-03D5BB4DC73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444369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DDF49A9-97BB-4220-9745-DCC80746B6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1"/>
            <a:ext cx="12192000" cy="6857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851F5D36-4311-42F7-8CE3-6E04971CAD67}"/>
              </a:ext>
            </a:extLst>
          </p:cNvPr>
          <p:cNvSpPr/>
          <p:nvPr userDrawn="1"/>
        </p:nvSpPr>
        <p:spPr>
          <a:xfrm>
            <a:off x="1170946" y="1289048"/>
            <a:ext cx="6894530" cy="4279901"/>
          </a:xfrm>
          <a:prstGeom prst="rect">
            <a:avLst/>
          </a:prstGeom>
          <a:solidFill>
            <a:schemeClr val="bg1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58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D2F8FE3-BE5B-470E-A445-C440629E4DE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ltGray">
          <a:xfrm>
            <a:off x="243707" y="241358"/>
            <a:ext cx="2444154" cy="764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482222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6142438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oc id"/>
          <p:cNvSpPr>
            <a:spLocks noChangeArrowheads="1"/>
          </p:cNvSpPr>
          <p:nvPr userDrawn="1"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726814"/>
            <a:endParaRPr lang="en-US" sz="650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3430570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90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"/>
            </p:custDataLst>
          </p:nvPr>
        </p:nvSpPr>
        <p:spPr>
          <a:xfrm>
            <a:off x="550800" y="6192267"/>
            <a:ext cx="683583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51941" y="5774658"/>
            <a:ext cx="683583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1942" y="2210324"/>
            <a:ext cx="6835830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AB0CD9-1BA9-EDB1-4A11-C080FA1DF1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2764188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AB0CD9-1BA9-EDB1-4A11-C080FA1DF1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8E58E711-6B1A-A4EE-E2D3-C799159CDD51}"/>
              </a:ext>
            </a:extLst>
          </p:cNvPr>
          <p:cNvGrpSpPr/>
          <p:nvPr userDrawn="1"/>
        </p:nvGrpSpPr>
        <p:grpSpPr bwMode="ltGray">
          <a:xfrm>
            <a:off x="-15898" y="-12038"/>
            <a:ext cx="12207898" cy="6870038"/>
            <a:chOff x="-15898" y="-12038"/>
            <a:chExt cx="12207898" cy="6870038"/>
          </a:xfrm>
        </p:grpSpPr>
        <p:pic>
          <p:nvPicPr>
            <p:cNvPr id="5" name="Picture 65" descr="About">
              <a:extLst>
                <a:ext uri="{FF2B5EF4-FFF2-40B4-BE49-F238E27FC236}">
                  <a16:creationId xmlns:a16="http://schemas.microsoft.com/office/drawing/2014/main" id="{39638C46-CEE4-DDFA-19AC-84AD1A43677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886" r="5521"/>
            <a:stretch/>
          </p:blipFill>
          <p:spPr bwMode="ltGray">
            <a:xfrm>
              <a:off x="-15898" y="0"/>
              <a:ext cx="12207898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E065A19-3D68-82C7-21F4-D09B8F4E36D3}"/>
                </a:ext>
              </a:extLst>
            </p:cNvPr>
            <p:cNvSpPr/>
            <p:nvPr/>
          </p:nvSpPr>
          <p:spPr bwMode="ltGray">
            <a:xfrm>
              <a:off x="-15898" y="0"/>
              <a:ext cx="12207898" cy="6858000"/>
            </a:xfrm>
            <a:prstGeom prst="rect">
              <a:avLst/>
            </a:prstGeom>
            <a:gradFill flip="none" rotWithShape="1">
              <a:gsLst>
                <a:gs pos="18000">
                  <a:srgbClr val="3F6B39">
                    <a:alpha val="86000"/>
                  </a:srgbClr>
                </a:gs>
                <a:gs pos="100000">
                  <a:srgbClr val="3F6B39">
                    <a:alpha val="35000"/>
                  </a:srgbClr>
                </a:gs>
              </a:gsLst>
              <a:lin ang="0" scaled="1"/>
              <a:tileRect/>
            </a:gradFill>
            <a:ln w="9525" cap="flat" cmpd="sng" algn="ctr">
              <a:solidFill>
                <a:srgbClr val="3F6B39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Group 1">
              <a:extLst>
                <a:ext uri="{FF2B5EF4-FFF2-40B4-BE49-F238E27FC236}">
                  <a16:creationId xmlns:a16="http://schemas.microsoft.com/office/drawing/2014/main" id="{C90B576D-2FB6-20CB-8320-2D5FE8639A90}"/>
                </a:ext>
              </a:extLst>
            </p:cNvPr>
            <p:cNvSpPr>
              <a:spLocks/>
            </p:cNvSpPr>
            <p:nvPr/>
          </p:nvSpPr>
          <p:spPr bwMode="ltGray">
            <a:xfrm>
              <a:off x="4591537" y="0"/>
              <a:ext cx="2363578" cy="1100931"/>
            </a:xfrm>
            <a:custGeom>
              <a:avLst/>
              <a:gdLst>
                <a:gd name="connsiteX0" fmla="*/ 0 w 2363578"/>
                <a:gd name="connsiteY0" fmla="*/ 0 h 1100931"/>
                <a:gd name="connsiteX1" fmla="*/ 1853488 w 2363578"/>
                <a:gd name="connsiteY1" fmla="*/ 0 h 1100931"/>
                <a:gd name="connsiteX2" fmla="*/ 2363578 w 2363578"/>
                <a:gd name="connsiteY2" fmla="*/ 1100931 h 1100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3578" h="1100931">
                  <a:moveTo>
                    <a:pt x="0" y="0"/>
                  </a:moveTo>
                  <a:lnTo>
                    <a:pt x="1853488" y="0"/>
                  </a:lnTo>
                  <a:lnTo>
                    <a:pt x="2363578" y="1100931"/>
                  </a:lnTo>
                  <a:close/>
                </a:path>
              </a:pathLst>
            </a:custGeom>
            <a:solidFill>
              <a:srgbClr val="FFFFFF">
                <a:alpha val="36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9" name="Freeform 34">
              <a:extLst>
                <a:ext uri="{FF2B5EF4-FFF2-40B4-BE49-F238E27FC236}">
                  <a16:creationId xmlns:a16="http://schemas.microsoft.com/office/drawing/2014/main" id="{8A49AE16-D8A4-3006-BAF3-E7EBDAAB51B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7057081" y="0"/>
              <a:ext cx="3369896" cy="1569243"/>
            </a:xfrm>
            <a:custGeom>
              <a:avLst/>
              <a:gdLst>
                <a:gd name="connsiteX0" fmla="*/ 0 w 3369896"/>
                <a:gd name="connsiteY0" fmla="*/ 0 h 1569243"/>
                <a:gd name="connsiteX1" fmla="*/ 2638619 w 3369896"/>
                <a:gd name="connsiteY1" fmla="*/ 0 h 1569243"/>
                <a:gd name="connsiteX2" fmla="*/ 3369896 w 3369896"/>
                <a:gd name="connsiteY2" fmla="*/ 1569243 h 156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9896" h="1569243">
                  <a:moveTo>
                    <a:pt x="0" y="0"/>
                  </a:moveTo>
                  <a:lnTo>
                    <a:pt x="2638619" y="0"/>
                  </a:lnTo>
                  <a:lnTo>
                    <a:pt x="3369896" y="1569243"/>
                  </a:lnTo>
                  <a:close/>
                </a:path>
              </a:pathLst>
            </a:custGeom>
            <a:solidFill>
              <a:srgbClr val="FFD100">
                <a:alpha val="49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Freeform 35">
              <a:extLst>
                <a:ext uri="{FF2B5EF4-FFF2-40B4-BE49-F238E27FC236}">
                  <a16:creationId xmlns:a16="http://schemas.microsoft.com/office/drawing/2014/main" id="{69533352-BF86-346F-5B6C-7A747A17BC73}"/>
                </a:ext>
              </a:extLst>
            </p:cNvPr>
            <p:cNvSpPr>
              <a:spLocks/>
            </p:cNvSpPr>
            <p:nvPr/>
          </p:nvSpPr>
          <p:spPr bwMode="ltGray">
            <a:xfrm>
              <a:off x="9696133" y="1"/>
              <a:ext cx="2495867" cy="2390792"/>
            </a:xfrm>
            <a:custGeom>
              <a:avLst/>
              <a:gdLst>
                <a:gd name="connsiteX0" fmla="*/ 0 w 2495867"/>
                <a:gd name="connsiteY0" fmla="*/ 0 h 2390792"/>
                <a:gd name="connsiteX1" fmla="*/ 2495867 w 2495867"/>
                <a:gd name="connsiteY1" fmla="*/ 0 h 2390792"/>
                <a:gd name="connsiteX2" fmla="*/ 2495867 w 2495867"/>
                <a:gd name="connsiteY2" fmla="*/ 2390792 h 2390792"/>
                <a:gd name="connsiteX3" fmla="*/ 731462 w 2495867"/>
                <a:gd name="connsiteY3" fmla="*/ 1569401 h 239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5867" h="2390792">
                  <a:moveTo>
                    <a:pt x="0" y="0"/>
                  </a:moveTo>
                  <a:lnTo>
                    <a:pt x="2495867" y="0"/>
                  </a:lnTo>
                  <a:lnTo>
                    <a:pt x="2495867" y="2390792"/>
                  </a:lnTo>
                  <a:lnTo>
                    <a:pt x="731462" y="1569401"/>
                  </a:lnTo>
                  <a:close/>
                </a:path>
              </a:pathLst>
            </a:custGeom>
            <a:solidFill>
              <a:srgbClr val="5D9E54">
                <a:alpha val="58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doc id">
              <a:extLst>
                <a:ext uri="{FF2B5EF4-FFF2-40B4-BE49-F238E27FC236}">
                  <a16:creationId xmlns:a16="http://schemas.microsoft.com/office/drawing/2014/main" id="{25775342-417E-83AE-F867-1336A03898EB}"/>
                </a:ext>
              </a:extLst>
            </p:cNvPr>
            <p:cNvSpPr>
              <a:spLocks noChangeArrowheads="1"/>
            </p:cNvSpPr>
            <p:nvPr/>
          </p:nvSpPr>
          <p:spPr bwMode="ltGray">
            <a:xfrm>
              <a:off x="11064591" y="51833"/>
              <a:ext cx="894152" cy="1247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marL="0" marR="0" lvl="0" indent="0" algn="r" defTabSz="9135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16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CE562F68-D570-4CA4-D906-B2DC50C8C045}"/>
                </a:ext>
              </a:extLst>
            </p:cNvPr>
            <p:cNvSpPr>
              <a:spLocks/>
            </p:cNvSpPr>
            <p:nvPr/>
          </p:nvSpPr>
          <p:spPr bwMode="ltGray">
            <a:xfrm>
              <a:off x="10427596" y="1569403"/>
              <a:ext cx="1764404" cy="3834145"/>
            </a:xfrm>
            <a:custGeom>
              <a:avLst/>
              <a:gdLst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519830 w 2519830"/>
                <a:gd name="connsiteY2" fmla="*/ 1 h 5403547"/>
                <a:gd name="connsiteX3" fmla="*/ 23964 w 2519830"/>
                <a:gd name="connsiteY3" fmla="*/ 1 h 5403547"/>
                <a:gd name="connsiteX4" fmla="*/ 755426 w 2519830"/>
                <a:gd name="connsiteY4" fmla="*/ 1569402 h 5403547"/>
                <a:gd name="connsiteX5" fmla="*/ 2519830 w 2519830"/>
                <a:gd name="connsiteY5" fmla="*/ 2390793 h 5403547"/>
                <a:gd name="connsiteX6" fmla="*/ 2519830 w 2519830"/>
                <a:gd name="connsiteY6" fmla="*/ 5403547 h 5403547"/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3964 w 2519830"/>
                <a:gd name="connsiteY2" fmla="*/ 1 h 5403547"/>
                <a:gd name="connsiteX3" fmla="*/ 755426 w 2519830"/>
                <a:gd name="connsiteY3" fmla="*/ 1569402 h 5403547"/>
                <a:gd name="connsiteX4" fmla="*/ 2519830 w 2519830"/>
                <a:gd name="connsiteY4" fmla="*/ 2390793 h 5403547"/>
                <a:gd name="connsiteX5" fmla="*/ 2519830 w 2519830"/>
                <a:gd name="connsiteY5" fmla="*/ 5403547 h 5403547"/>
                <a:gd name="connsiteX6" fmla="*/ 0 w 2519830"/>
                <a:gd name="connsiteY6" fmla="*/ 0 h 5403547"/>
                <a:gd name="connsiteX0" fmla="*/ 0 w 2519830"/>
                <a:gd name="connsiteY0" fmla="*/ 0 h 5403547"/>
                <a:gd name="connsiteX1" fmla="*/ 23964 w 2519830"/>
                <a:gd name="connsiteY1" fmla="*/ 1 h 5403547"/>
                <a:gd name="connsiteX2" fmla="*/ 755426 w 2519830"/>
                <a:gd name="connsiteY2" fmla="*/ 1569402 h 5403547"/>
                <a:gd name="connsiteX3" fmla="*/ 2519830 w 2519830"/>
                <a:gd name="connsiteY3" fmla="*/ 2390793 h 5403547"/>
                <a:gd name="connsiteX4" fmla="*/ 2519830 w 2519830"/>
                <a:gd name="connsiteY4" fmla="*/ 5403547 h 5403547"/>
                <a:gd name="connsiteX5" fmla="*/ 0 w 2519830"/>
                <a:gd name="connsiteY5" fmla="*/ 0 h 5403547"/>
                <a:gd name="connsiteX0" fmla="*/ 2495866 w 2495866"/>
                <a:gd name="connsiteY0" fmla="*/ 5403546 h 5403546"/>
                <a:gd name="connsiteX1" fmla="*/ 0 w 2495866"/>
                <a:gd name="connsiteY1" fmla="*/ 0 h 5403546"/>
                <a:gd name="connsiteX2" fmla="*/ 731462 w 2495866"/>
                <a:gd name="connsiteY2" fmla="*/ 1569401 h 5403546"/>
                <a:gd name="connsiteX3" fmla="*/ 2495866 w 2495866"/>
                <a:gd name="connsiteY3" fmla="*/ 2390792 h 5403546"/>
                <a:gd name="connsiteX4" fmla="*/ 2495866 w 2495866"/>
                <a:gd name="connsiteY4" fmla="*/ 5403546 h 5403546"/>
                <a:gd name="connsiteX0" fmla="*/ 1764404 w 1764404"/>
                <a:gd name="connsiteY0" fmla="*/ 3834145 h 3834145"/>
                <a:gd name="connsiteX1" fmla="*/ 0 w 1764404"/>
                <a:gd name="connsiteY1" fmla="*/ 0 h 3834145"/>
                <a:gd name="connsiteX2" fmla="*/ 1764404 w 1764404"/>
                <a:gd name="connsiteY2" fmla="*/ 821391 h 3834145"/>
                <a:gd name="connsiteX3" fmla="*/ 1764404 w 1764404"/>
                <a:gd name="connsiteY3" fmla="*/ 3834145 h 3834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64404" h="3834145">
                  <a:moveTo>
                    <a:pt x="1764404" y="3834145"/>
                  </a:moveTo>
                  <a:lnTo>
                    <a:pt x="0" y="0"/>
                  </a:lnTo>
                  <a:lnTo>
                    <a:pt x="1764404" y="821391"/>
                  </a:lnTo>
                  <a:lnTo>
                    <a:pt x="1764404" y="3834145"/>
                  </a:lnTo>
                  <a:close/>
                </a:path>
              </a:pathLst>
            </a:custGeom>
            <a:solidFill>
              <a:srgbClr val="FFD100">
                <a:alpha val="49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43F07E6A-EA10-8C4D-90C9-836A9EA4321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 bwMode="ltGray">
            <a:xfrm>
              <a:off x="611441" y="542924"/>
              <a:ext cx="2688569" cy="841321"/>
            </a:xfrm>
            <a:prstGeom prst="rect">
              <a:avLst/>
            </a:prstGeom>
          </p:spPr>
        </p:pic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945212F-1B29-DA1E-BB6C-ACBFC42B1273}"/>
                </a:ext>
              </a:extLst>
            </p:cNvPr>
            <p:cNvSpPr>
              <a:spLocks/>
            </p:cNvSpPr>
            <p:nvPr/>
          </p:nvSpPr>
          <p:spPr bwMode="ltGray">
            <a:xfrm>
              <a:off x="6443063" y="-12038"/>
              <a:ext cx="5474706" cy="4825984"/>
            </a:xfrm>
            <a:custGeom>
              <a:avLst/>
              <a:gdLst>
                <a:gd name="connsiteX0" fmla="*/ 0 w 5474706"/>
                <a:gd name="connsiteY0" fmla="*/ 0 h 4825984"/>
                <a:gd name="connsiteX1" fmla="*/ 610810 w 5474706"/>
                <a:gd name="connsiteY1" fmla="*/ 0 h 4825984"/>
                <a:gd name="connsiteX2" fmla="*/ 3981656 w 5474706"/>
                <a:gd name="connsiteY2" fmla="*/ 1569869 h 4825984"/>
                <a:gd name="connsiteX3" fmla="*/ 3982923 w 5474706"/>
                <a:gd name="connsiteY3" fmla="*/ 1572586 h 4825984"/>
                <a:gd name="connsiteX4" fmla="*/ 3976086 w 5474706"/>
                <a:gd name="connsiteY4" fmla="*/ 1569403 h 4825984"/>
                <a:gd name="connsiteX5" fmla="*/ 5474706 w 5474706"/>
                <a:gd name="connsiteY5" fmla="*/ 4825984 h 4825984"/>
                <a:gd name="connsiteX6" fmla="*/ 1349206 w 5474706"/>
                <a:gd name="connsiteY6" fmla="*/ 2911232 h 4825984"/>
                <a:gd name="connsiteX7" fmla="*/ 510415 w 5474706"/>
                <a:gd name="connsiteY7" fmla="*/ 1101566 h 4825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474706" h="4825984">
                  <a:moveTo>
                    <a:pt x="0" y="0"/>
                  </a:moveTo>
                  <a:lnTo>
                    <a:pt x="610810" y="0"/>
                  </a:lnTo>
                  <a:lnTo>
                    <a:pt x="3981656" y="1569869"/>
                  </a:lnTo>
                  <a:lnTo>
                    <a:pt x="3982923" y="1572586"/>
                  </a:lnTo>
                  <a:lnTo>
                    <a:pt x="3976086" y="1569403"/>
                  </a:lnTo>
                  <a:lnTo>
                    <a:pt x="5474706" y="4825984"/>
                  </a:lnTo>
                  <a:lnTo>
                    <a:pt x="1349206" y="2911232"/>
                  </a:lnTo>
                  <a:lnTo>
                    <a:pt x="510415" y="1101566"/>
                  </a:lnTo>
                  <a:close/>
                </a:path>
              </a:pathLst>
            </a:custGeom>
            <a:solidFill>
              <a:srgbClr val="5D9E54">
                <a:alpha val="58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9628204E-9659-C3ED-0BAC-90A8166C265D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155744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C2DC3B-555B-46D3-9C82-83C4B92E3C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3CCCE22-1493-4319-81E7-7DF99C65F00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24779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9915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C56963FF-ADBA-477A-8328-4F16B44471E4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7889876-BA05-49A2-8294-D779E2868DC3}"/>
              </a:ext>
            </a:extLst>
          </p:cNvPr>
          <p:cNvPicPr>
            <a:picLocks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9743089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F77FF6-3A12-490D-911B-BB9D8DC3731D}" type="datetime1">
              <a:rPr lang="en-US" smtClean="0"/>
              <a:t>11/6/20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BEBEBE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20"/>
              <a:t>Page </a:t>
            </a:r>
            <a:r>
              <a:rPr spc="-30"/>
              <a:t>|</a:t>
            </a:r>
            <a:r>
              <a:rPr spc="150"/>
              <a:t> </a:t>
            </a:r>
            <a:fld id="{81D60167-4931-47E6-BA6A-407CBD079E47}" type="slidenum">
              <a:rPr spc="-30" dirty="0"/>
              <a:t>‹#›</a:t>
            </a:fld>
            <a:endParaRPr spc="-30"/>
          </a:p>
        </p:txBody>
      </p:sp>
    </p:spTree>
    <p:extLst>
      <p:ext uri="{BB962C8B-B14F-4D97-AF65-F5344CB8AC3E}">
        <p14:creationId xmlns:p14="http://schemas.microsoft.com/office/powerpoint/2010/main" val="87112833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graphicFrame>
        <p:nvGraphicFramePr>
          <p:cNvPr id="2" name="Object 6" hidden="1">
            <a:extLst>
              <a:ext uri="{FF2B5EF4-FFF2-40B4-BE49-F238E27FC236}">
                <a16:creationId xmlns:a16="http://schemas.microsoft.com/office/drawing/2014/main" id="{92C269B7-8CC9-12AD-22BA-C0833C0559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327626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2" name="Object 6" hidden="1">
                        <a:extLst>
                          <a:ext uri="{FF2B5EF4-FFF2-40B4-BE49-F238E27FC236}">
                            <a16:creationId xmlns:a16="http://schemas.microsoft.com/office/drawing/2014/main" id="{92C269B7-8CC9-12AD-22BA-C0833C0559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EB1C1276-7C36-4B90-E2FA-9DDE37A58B08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482B7AD4-3A20-417A-CE32-E74B55061B9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83ACE5CF-47AE-4813-D59C-1AC343E48991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77493921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00" b="0" i="0">
                <a:solidFill>
                  <a:srgbClr val="87C58F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852932" y="1578991"/>
            <a:ext cx="4142104" cy="41636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50" b="0" i="0">
                <a:solidFill>
                  <a:srgbClr val="383838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618D565-88C0-4AA6-B6E6-6402D6232D8C}" type="datetime1">
              <a:rPr lang="en-US" smtClean="0"/>
              <a:t>11/6/2023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BEBEBE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20"/>
              <a:t>Page </a:t>
            </a:r>
            <a:r>
              <a:rPr spc="-30"/>
              <a:t>|</a:t>
            </a:r>
            <a:r>
              <a:rPr spc="150"/>
              <a:t> </a:t>
            </a:r>
            <a:fld id="{81D60167-4931-47E6-BA6A-407CBD079E47}" type="slidenum">
              <a:rPr spc="-30" dirty="0"/>
              <a:t>‹#›</a:t>
            </a:fld>
            <a:endParaRPr spc="-30"/>
          </a:p>
        </p:txBody>
      </p:sp>
    </p:spTree>
    <p:extLst>
      <p:ext uri="{BB962C8B-B14F-4D97-AF65-F5344CB8AC3E}">
        <p14:creationId xmlns:p14="http://schemas.microsoft.com/office/powerpoint/2010/main" val="286979821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8259569"/>
              </p:ext>
            </p:extLst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38D18C3-132D-4EA9-A013-8C02F2367BA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64" b="1" i="0" baseline="0" err="1">
              <a:solidFill>
                <a:schemeClr val="tx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591537" y="1"/>
            <a:ext cx="7600463" cy="5403547"/>
            <a:chOff x="4591537" y="0"/>
            <a:chExt cx="7600463" cy="5403547"/>
          </a:xfrm>
        </p:grpSpPr>
        <p:sp>
          <p:nvSpPr>
            <p:cNvPr id="32" name="Freeform 31"/>
            <p:cNvSpPr>
              <a:spLocks/>
            </p:cNvSpPr>
            <p:nvPr userDrawn="1"/>
          </p:nvSpPr>
          <p:spPr bwMode="ltGray">
            <a:xfrm>
              <a:off x="9672169" y="0"/>
              <a:ext cx="2519830" cy="5403547"/>
            </a:xfrm>
            <a:custGeom>
              <a:avLst/>
              <a:gdLst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519830 w 2519830"/>
                <a:gd name="connsiteY2" fmla="*/ 5403547 h 5403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19830" h="5403547">
                  <a:moveTo>
                    <a:pt x="0" y="0"/>
                  </a:moveTo>
                  <a:lnTo>
                    <a:pt x="2519830" y="0"/>
                  </a:lnTo>
                  <a:lnTo>
                    <a:pt x="2519830" y="5403547"/>
                  </a:lnTo>
                  <a:close/>
                </a:path>
              </a:pathLst>
            </a:custGeom>
            <a:solidFill>
              <a:srgbClr val="AAD3A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ltGray">
            <a:xfrm>
              <a:off x="4591537" y="0"/>
              <a:ext cx="2363578" cy="1100931"/>
            </a:xfrm>
            <a:custGeom>
              <a:avLst/>
              <a:gdLst>
                <a:gd name="connsiteX0" fmla="*/ 0 w 2363578"/>
                <a:gd name="connsiteY0" fmla="*/ 0 h 1100931"/>
                <a:gd name="connsiteX1" fmla="*/ 1853488 w 2363578"/>
                <a:gd name="connsiteY1" fmla="*/ 0 h 1100931"/>
                <a:gd name="connsiteX2" fmla="*/ 2363578 w 2363578"/>
                <a:gd name="connsiteY2" fmla="*/ 1100931 h 1100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3578" h="1100931">
                  <a:moveTo>
                    <a:pt x="0" y="0"/>
                  </a:moveTo>
                  <a:lnTo>
                    <a:pt x="1853488" y="0"/>
                  </a:lnTo>
                  <a:lnTo>
                    <a:pt x="2363578" y="1100931"/>
                  </a:lnTo>
                  <a:close/>
                </a:path>
              </a:pathLst>
            </a:custGeom>
            <a:solidFill>
              <a:srgbClr val="E7F2E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ltGray">
            <a:xfrm>
              <a:off x="6445332" y="0"/>
              <a:ext cx="5507233" cy="4841081"/>
            </a:xfrm>
            <a:custGeom>
              <a:avLst/>
              <a:gdLst>
                <a:gd name="connsiteX0" fmla="*/ 0 w 5507233"/>
                <a:gd name="connsiteY0" fmla="*/ 0 h 4841081"/>
                <a:gd name="connsiteX1" fmla="*/ 610810 w 5507233"/>
                <a:gd name="connsiteY1" fmla="*/ 0 h 4841081"/>
                <a:gd name="connsiteX2" fmla="*/ 3981656 w 5507233"/>
                <a:gd name="connsiteY2" fmla="*/ 1569869 h 4841081"/>
                <a:gd name="connsiteX3" fmla="*/ 4665678 w 5507233"/>
                <a:gd name="connsiteY3" fmla="*/ 3036941 h 4841081"/>
                <a:gd name="connsiteX4" fmla="*/ 5507233 w 5507233"/>
                <a:gd name="connsiteY4" fmla="*/ 4841081 h 4841081"/>
                <a:gd name="connsiteX5" fmla="*/ 1349206 w 5507233"/>
                <a:gd name="connsiteY5" fmla="*/ 2911232 h 4841081"/>
                <a:gd name="connsiteX6" fmla="*/ 510415 w 5507233"/>
                <a:gd name="connsiteY6" fmla="*/ 1101566 h 4841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07233" h="4841081">
                  <a:moveTo>
                    <a:pt x="0" y="0"/>
                  </a:moveTo>
                  <a:lnTo>
                    <a:pt x="610810" y="0"/>
                  </a:lnTo>
                  <a:lnTo>
                    <a:pt x="3981656" y="1569869"/>
                  </a:lnTo>
                  <a:lnTo>
                    <a:pt x="4665678" y="3036941"/>
                  </a:lnTo>
                  <a:lnTo>
                    <a:pt x="5507233" y="4841081"/>
                  </a:lnTo>
                  <a:lnTo>
                    <a:pt x="1349206" y="2911232"/>
                  </a:lnTo>
                  <a:lnTo>
                    <a:pt x="510415" y="1101566"/>
                  </a:lnTo>
                  <a:close/>
                </a:path>
              </a:pathLst>
            </a:custGeom>
            <a:solidFill>
              <a:srgbClr val="C1DEC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ltGray">
            <a:xfrm>
              <a:off x="7057081" y="0"/>
              <a:ext cx="3369896" cy="1569243"/>
            </a:xfrm>
            <a:custGeom>
              <a:avLst/>
              <a:gdLst>
                <a:gd name="connsiteX0" fmla="*/ 0 w 3369896"/>
                <a:gd name="connsiteY0" fmla="*/ 0 h 1569243"/>
                <a:gd name="connsiteX1" fmla="*/ 2638619 w 3369896"/>
                <a:gd name="connsiteY1" fmla="*/ 0 h 1569243"/>
                <a:gd name="connsiteX2" fmla="*/ 3369896 w 3369896"/>
                <a:gd name="connsiteY2" fmla="*/ 1569243 h 156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9896" h="1569243">
                  <a:moveTo>
                    <a:pt x="0" y="0"/>
                  </a:moveTo>
                  <a:lnTo>
                    <a:pt x="2638619" y="0"/>
                  </a:lnTo>
                  <a:lnTo>
                    <a:pt x="3369896" y="1569243"/>
                  </a:lnTo>
                  <a:close/>
                </a:path>
              </a:pathLst>
            </a:custGeom>
            <a:solidFill>
              <a:srgbClr val="8AC5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ltGray">
            <a:xfrm>
              <a:off x="9696133" y="1"/>
              <a:ext cx="2495867" cy="2390792"/>
            </a:xfrm>
            <a:custGeom>
              <a:avLst/>
              <a:gdLst>
                <a:gd name="connsiteX0" fmla="*/ 0 w 2495867"/>
                <a:gd name="connsiteY0" fmla="*/ 0 h 2390792"/>
                <a:gd name="connsiteX1" fmla="*/ 2495867 w 2495867"/>
                <a:gd name="connsiteY1" fmla="*/ 0 h 2390792"/>
                <a:gd name="connsiteX2" fmla="*/ 2495867 w 2495867"/>
                <a:gd name="connsiteY2" fmla="*/ 2390792 h 2390792"/>
                <a:gd name="connsiteX3" fmla="*/ 731462 w 2495867"/>
                <a:gd name="connsiteY3" fmla="*/ 1569401 h 239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5867" h="2390792">
                  <a:moveTo>
                    <a:pt x="0" y="0"/>
                  </a:moveTo>
                  <a:lnTo>
                    <a:pt x="2495867" y="0"/>
                  </a:lnTo>
                  <a:lnTo>
                    <a:pt x="2495867" y="2390792"/>
                  </a:lnTo>
                  <a:lnTo>
                    <a:pt x="731462" y="1569401"/>
                  </a:lnTo>
                  <a:close/>
                </a:path>
              </a:pathLst>
            </a:custGeom>
            <a:solidFill>
              <a:srgbClr val="CEE5C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</p:grp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611442" y="6340334"/>
            <a:ext cx="3795784" cy="110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16" b="1" baseline="0">
                <a:solidFill>
                  <a:schemeClr val="accent6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611441" y="6493758"/>
            <a:ext cx="4038929" cy="110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16" baseline="0">
                <a:solidFill>
                  <a:schemeClr val="accent6"/>
                </a:solidFill>
                <a:latin typeface="+mn-lt"/>
              </a:rPr>
              <a:t>Last Modified 9/1/2021 9:10 AM Arab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611442" y="6647183"/>
            <a:ext cx="3795784" cy="110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716" baseline="0">
                <a:solidFill>
                  <a:schemeClr val="accent6"/>
                </a:solidFill>
                <a:latin typeface="+mn-lt"/>
              </a:rPr>
              <a:t>Printed 29/12/2019 07:18 Arab Standard Time</a:t>
            </a:r>
            <a:endParaRPr lang="en-US" sz="716" baseline="0">
              <a:solidFill>
                <a:schemeClr val="accent6"/>
              </a:solidFill>
              <a:latin typeface="+mn-lt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ltGray">
          <a:xfrm>
            <a:off x="611443" y="542925"/>
            <a:ext cx="2688569" cy="841321"/>
          </a:xfrm>
          <a:prstGeom prst="rect">
            <a:avLst/>
          </a:prstGeom>
        </p:spPr>
      </p:pic>
      <p:cxnSp>
        <p:nvCxnSpPr>
          <p:cNvPr id="37" name="Straight Connector 36"/>
          <p:cNvCxnSpPr/>
          <p:nvPr userDrawn="1"/>
        </p:nvCxnSpPr>
        <p:spPr bwMode="auto">
          <a:xfrm>
            <a:off x="611442" y="6252508"/>
            <a:ext cx="5171091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</p:cxnSp>
      <p:sp>
        <p:nvSpPr>
          <p:cNvPr id="17" name="doc id"/>
          <p:cNvSpPr>
            <a:spLocks noChangeArrowheads="1"/>
          </p:cNvSpPr>
          <p:nvPr userDrawn="1"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726814"/>
            <a:endParaRPr lang="en-US" sz="650" baseline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611441" y="2384444"/>
            <a:ext cx="6027484" cy="440744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sz="2864" b="1" baseline="0">
                <a:solidFill>
                  <a:schemeClr val="accent3">
                    <a:lumMod val="75000"/>
                  </a:schemeClr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611442" y="4099796"/>
            <a:ext cx="6027484" cy="3371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591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auto">
          <a:xfrm>
            <a:off x="611441" y="5619262"/>
            <a:ext cx="6027484" cy="195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273" baseline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221523179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91626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oc id"/>
          <p:cNvSpPr>
            <a:spLocks noChangeArrowheads="1"/>
          </p:cNvSpPr>
          <p:nvPr userDrawn="1"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726814"/>
            <a:endParaRPr lang="en-US" sz="650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62334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90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151243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doc id"/>
          <p:cNvSpPr>
            <a:spLocks noChangeArrowheads="1"/>
          </p:cNvSpPr>
          <p:nvPr userDrawn="1"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726814"/>
            <a:endParaRPr lang="en-US" sz="650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1061460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412">
          <p15:clr>
            <a:srgbClr val="000000"/>
          </p15:clr>
        </p15:guide>
        <p15:guide id="2" orient="horz" pos="582">
          <p15:clr>
            <a:srgbClr val="000000"/>
          </p15:clr>
        </p15:guide>
        <p15:guide id="3" orient="horz" pos="3991">
          <p15:clr>
            <a:srgbClr val="000000"/>
          </p15:clr>
        </p15:guide>
        <p15:guide id="4" pos="98">
          <p15:clr>
            <a:srgbClr val="00000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C974E7-A1D3-41A5-B97E-54F405541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1D8BF6-4A3A-451A-9E9B-03D5BB4DC7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76208" y="2578999"/>
            <a:ext cx="5853024" cy="97926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248065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6732532"/>
              </p:ext>
            </p:extLst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38D18C3-132D-4EA9-A013-8C02F2367BA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64" b="1" i="0" baseline="0" err="1">
              <a:solidFill>
                <a:schemeClr val="tx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2" name="Group 1"/>
          <p:cNvGrpSpPr/>
          <p:nvPr userDrawn="1"/>
        </p:nvGrpSpPr>
        <p:grpSpPr>
          <a:xfrm rot="5400000">
            <a:off x="5274348" y="-59653"/>
            <a:ext cx="6644930" cy="7190377"/>
            <a:chOff x="4591537" y="0"/>
            <a:chExt cx="7600463" cy="5403547"/>
          </a:xfrm>
        </p:grpSpPr>
        <p:sp>
          <p:nvSpPr>
            <p:cNvPr id="32" name="Freeform 31"/>
            <p:cNvSpPr>
              <a:spLocks/>
            </p:cNvSpPr>
            <p:nvPr userDrawn="1"/>
          </p:nvSpPr>
          <p:spPr bwMode="ltGray">
            <a:xfrm>
              <a:off x="9672169" y="0"/>
              <a:ext cx="2519830" cy="5403547"/>
            </a:xfrm>
            <a:custGeom>
              <a:avLst/>
              <a:gdLst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519830 w 2519830"/>
                <a:gd name="connsiteY2" fmla="*/ 5403547 h 5403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19830" h="5403547">
                  <a:moveTo>
                    <a:pt x="0" y="0"/>
                  </a:moveTo>
                  <a:lnTo>
                    <a:pt x="2519830" y="0"/>
                  </a:lnTo>
                  <a:lnTo>
                    <a:pt x="2519830" y="5403547"/>
                  </a:lnTo>
                  <a:close/>
                </a:path>
              </a:pathLst>
            </a:custGeom>
            <a:solidFill>
              <a:srgbClr val="AAD3A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ltGray">
            <a:xfrm>
              <a:off x="4591537" y="0"/>
              <a:ext cx="2363578" cy="1100931"/>
            </a:xfrm>
            <a:custGeom>
              <a:avLst/>
              <a:gdLst>
                <a:gd name="connsiteX0" fmla="*/ 0 w 2363578"/>
                <a:gd name="connsiteY0" fmla="*/ 0 h 1100931"/>
                <a:gd name="connsiteX1" fmla="*/ 1853488 w 2363578"/>
                <a:gd name="connsiteY1" fmla="*/ 0 h 1100931"/>
                <a:gd name="connsiteX2" fmla="*/ 2363578 w 2363578"/>
                <a:gd name="connsiteY2" fmla="*/ 1100931 h 1100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3578" h="1100931">
                  <a:moveTo>
                    <a:pt x="0" y="0"/>
                  </a:moveTo>
                  <a:lnTo>
                    <a:pt x="1853488" y="0"/>
                  </a:lnTo>
                  <a:lnTo>
                    <a:pt x="2363578" y="1100931"/>
                  </a:lnTo>
                  <a:close/>
                </a:path>
              </a:pathLst>
            </a:custGeom>
            <a:solidFill>
              <a:srgbClr val="E7F2E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ltGray">
            <a:xfrm>
              <a:off x="6445332" y="0"/>
              <a:ext cx="5507232" cy="4841081"/>
            </a:xfrm>
            <a:custGeom>
              <a:avLst/>
              <a:gdLst>
                <a:gd name="connsiteX0" fmla="*/ 0 w 5507233"/>
                <a:gd name="connsiteY0" fmla="*/ 0 h 4841081"/>
                <a:gd name="connsiteX1" fmla="*/ 610810 w 5507233"/>
                <a:gd name="connsiteY1" fmla="*/ 0 h 4841081"/>
                <a:gd name="connsiteX2" fmla="*/ 3981656 w 5507233"/>
                <a:gd name="connsiteY2" fmla="*/ 1569869 h 4841081"/>
                <a:gd name="connsiteX3" fmla="*/ 4665678 w 5507233"/>
                <a:gd name="connsiteY3" fmla="*/ 3036941 h 4841081"/>
                <a:gd name="connsiteX4" fmla="*/ 5507233 w 5507233"/>
                <a:gd name="connsiteY4" fmla="*/ 4841081 h 4841081"/>
                <a:gd name="connsiteX5" fmla="*/ 1349206 w 5507233"/>
                <a:gd name="connsiteY5" fmla="*/ 2911232 h 4841081"/>
                <a:gd name="connsiteX6" fmla="*/ 510415 w 5507233"/>
                <a:gd name="connsiteY6" fmla="*/ 1101566 h 4841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07233" h="4841081">
                  <a:moveTo>
                    <a:pt x="0" y="0"/>
                  </a:moveTo>
                  <a:lnTo>
                    <a:pt x="610810" y="0"/>
                  </a:lnTo>
                  <a:lnTo>
                    <a:pt x="3981656" y="1569869"/>
                  </a:lnTo>
                  <a:lnTo>
                    <a:pt x="4665678" y="3036941"/>
                  </a:lnTo>
                  <a:lnTo>
                    <a:pt x="5507233" y="4841081"/>
                  </a:lnTo>
                  <a:lnTo>
                    <a:pt x="1349206" y="2911232"/>
                  </a:lnTo>
                  <a:lnTo>
                    <a:pt x="510415" y="1101566"/>
                  </a:lnTo>
                  <a:close/>
                </a:path>
              </a:pathLst>
            </a:custGeom>
            <a:solidFill>
              <a:srgbClr val="C1DEC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ltGray">
            <a:xfrm>
              <a:off x="7057080" y="0"/>
              <a:ext cx="3369896" cy="1569243"/>
            </a:xfrm>
            <a:custGeom>
              <a:avLst/>
              <a:gdLst>
                <a:gd name="connsiteX0" fmla="*/ 0 w 3369896"/>
                <a:gd name="connsiteY0" fmla="*/ 0 h 1569243"/>
                <a:gd name="connsiteX1" fmla="*/ 2638619 w 3369896"/>
                <a:gd name="connsiteY1" fmla="*/ 0 h 1569243"/>
                <a:gd name="connsiteX2" fmla="*/ 3369896 w 3369896"/>
                <a:gd name="connsiteY2" fmla="*/ 1569243 h 156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9896" h="1569243">
                  <a:moveTo>
                    <a:pt x="0" y="0"/>
                  </a:moveTo>
                  <a:lnTo>
                    <a:pt x="2638619" y="0"/>
                  </a:lnTo>
                  <a:lnTo>
                    <a:pt x="3369896" y="1569243"/>
                  </a:lnTo>
                  <a:close/>
                </a:path>
              </a:pathLst>
            </a:custGeom>
            <a:solidFill>
              <a:srgbClr val="8AC5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ltGray">
            <a:xfrm>
              <a:off x="9696133" y="1"/>
              <a:ext cx="2495867" cy="2390792"/>
            </a:xfrm>
            <a:custGeom>
              <a:avLst/>
              <a:gdLst>
                <a:gd name="connsiteX0" fmla="*/ 0 w 2495867"/>
                <a:gd name="connsiteY0" fmla="*/ 0 h 2390792"/>
                <a:gd name="connsiteX1" fmla="*/ 2495867 w 2495867"/>
                <a:gd name="connsiteY1" fmla="*/ 0 h 2390792"/>
                <a:gd name="connsiteX2" fmla="*/ 2495867 w 2495867"/>
                <a:gd name="connsiteY2" fmla="*/ 2390792 h 2390792"/>
                <a:gd name="connsiteX3" fmla="*/ 731462 w 2495867"/>
                <a:gd name="connsiteY3" fmla="*/ 1569401 h 239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5867" h="2390792">
                  <a:moveTo>
                    <a:pt x="0" y="0"/>
                  </a:moveTo>
                  <a:lnTo>
                    <a:pt x="2495867" y="0"/>
                  </a:lnTo>
                  <a:lnTo>
                    <a:pt x="2495867" y="2390792"/>
                  </a:lnTo>
                  <a:lnTo>
                    <a:pt x="731462" y="1569401"/>
                  </a:lnTo>
                  <a:close/>
                </a:path>
              </a:pathLst>
            </a:custGeom>
            <a:solidFill>
              <a:srgbClr val="CEE5C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</p:grp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611442" y="6340334"/>
            <a:ext cx="3795784" cy="110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16" b="1" baseline="0">
                <a:solidFill>
                  <a:schemeClr val="accent6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611441" y="6493758"/>
            <a:ext cx="4038929" cy="110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16" baseline="0">
                <a:solidFill>
                  <a:schemeClr val="accent6"/>
                </a:solidFill>
                <a:latin typeface="+mn-lt"/>
              </a:rPr>
              <a:t>Last Modified 9/1/2021 9:10 AM Arab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611442" y="6647183"/>
            <a:ext cx="3795784" cy="110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716" baseline="0">
                <a:solidFill>
                  <a:schemeClr val="accent6"/>
                </a:solidFill>
                <a:latin typeface="+mn-lt"/>
              </a:rPr>
              <a:t>Printed 29/12/2019 07:18 Arab Standard Time</a:t>
            </a:r>
            <a:endParaRPr lang="en-US" sz="716" baseline="0">
              <a:solidFill>
                <a:schemeClr val="accent6"/>
              </a:solidFill>
              <a:latin typeface="+mn-lt"/>
            </a:endParaRPr>
          </a:p>
        </p:txBody>
      </p:sp>
      <p:cxnSp>
        <p:nvCxnSpPr>
          <p:cNvPr id="37" name="Straight Connector 36"/>
          <p:cNvCxnSpPr/>
          <p:nvPr userDrawn="1"/>
        </p:nvCxnSpPr>
        <p:spPr bwMode="auto">
          <a:xfrm>
            <a:off x="611442" y="6252508"/>
            <a:ext cx="5171091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</p:cxnSp>
      <p:sp>
        <p:nvSpPr>
          <p:cNvPr id="17" name="doc id"/>
          <p:cNvSpPr>
            <a:spLocks noChangeArrowheads="1"/>
          </p:cNvSpPr>
          <p:nvPr userDrawn="1"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726814"/>
            <a:endParaRPr lang="en-US" sz="650" baseline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611442" y="2993759"/>
            <a:ext cx="4523581" cy="8740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54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auto">
          <a:xfrm>
            <a:off x="611441" y="5619262"/>
            <a:ext cx="6027484" cy="195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273" baseline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2289B8C-0888-4980-A80E-8295A6B9F249}"/>
              </a:ext>
            </a:extLst>
          </p:cNvPr>
          <p:cNvCxnSpPr/>
          <p:nvPr userDrawn="1"/>
        </p:nvCxnSpPr>
        <p:spPr bwMode="ltGray">
          <a:xfrm flipV="1">
            <a:off x="469537" y="934069"/>
            <a:ext cx="10966610" cy="26908"/>
          </a:xfrm>
          <a:prstGeom prst="line">
            <a:avLst/>
          </a:prstGeom>
          <a:noFill/>
          <a:ln w="6350" cap="flat" cmpd="sng" algn="ctr">
            <a:solidFill>
              <a:srgbClr val="A5A5A5"/>
            </a:solidFill>
            <a:prstDash val="solid"/>
            <a:miter lim="800000"/>
          </a:ln>
          <a:effectLst/>
        </p:spPr>
      </p:cxnSp>
      <p:sp>
        <p:nvSpPr>
          <p:cNvPr id="19" name="Title Placeholder 2">
            <a:extLst>
              <a:ext uri="{FF2B5EF4-FFF2-40B4-BE49-F238E27FC236}">
                <a16:creationId xmlns:a16="http://schemas.microsoft.com/office/drawing/2014/main" id="{D66E2747-7733-4D64-B4ED-6606B428EA6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65414" y="300917"/>
            <a:ext cx="10966610" cy="5706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7767847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2171854"/>
              </p:ext>
            </p:extLst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38D18C3-132D-4EA9-A013-8C02F2367BA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64" b="1" i="0" baseline="0" err="1">
              <a:solidFill>
                <a:schemeClr val="tx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591537" y="1"/>
            <a:ext cx="7600463" cy="5403547"/>
            <a:chOff x="4591537" y="0"/>
            <a:chExt cx="7600463" cy="5403547"/>
          </a:xfrm>
        </p:grpSpPr>
        <p:sp>
          <p:nvSpPr>
            <p:cNvPr id="32" name="Freeform 31"/>
            <p:cNvSpPr>
              <a:spLocks/>
            </p:cNvSpPr>
            <p:nvPr userDrawn="1"/>
          </p:nvSpPr>
          <p:spPr bwMode="ltGray">
            <a:xfrm>
              <a:off x="9672169" y="0"/>
              <a:ext cx="2519830" cy="5403547"/>
            </a:xfrm>
            <a:custGeom>
              <a:avLst/>
              <a:gdLst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519830 w 2519830"/>
                <a:gd name="connsiteY2" fmla="*/ 5403547 h 5403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19830" h="5403547">
                  <a:moveTo>
                    <a:pt x="0" y="0"/>
                  </a:moveTo>
                  <a:lnTo>
                    <a:pt x="2519830" y="0"/>
                  </a:lnTo>
                  <a:lnTo>
                    <a:pt x="2519830" y="5403547"/>
                  </a:lnTo>
                  <a:close/>
                </a:path>
              </a:pathLst>
            </a:custGeom>
            <a:solidFill>
              <a:srgbClr val="AAD3A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ltGray">
            <a:xfrm>
              <a:off x="4591537" y="0"/>
              <a:ext cx="2363578" cy="1100931"/>
            </a:xfrm>
            <a:custGeom>
              <a:avLst/>
              <a:gdLst>
                <a:gd name="connsiteX0" fmla="*/ 0 w 2363578"/>
                <a:gd name="connsiteY0" fmla="*/ 0 h 1100931"/>
                <a:gd name="connsiteX1" fmla="*/ 1853488 w 2363578"/>
                <a:gd name="connsiteY1" fmla="*/ 0 h 1100931"/>
                <a:gd name="connsiteX2" fmla="*/ 2363578 w 2363578"/>
                <a:gd name="connsiteY2" fmla="*/ 1100931 h 1100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3578" h="1100931">
                  <a:moveTo>
                    <a:pt x="0" y="0"/>
                  </a:moveTo>
                  <a:lnTo>
                    <a:pt x="1853488" y="0"/>
                  </a:lnTo>
                  <a:lnTo>
                    <a:pt x="2363578" y="1100931"/>
                  </a:lnTo>
                  <a:close/>
                </a:path>
              </a:pathLst>
            </a:custGeom>
            <a:solidFill>
              <a:srgbClr val="E7F2E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ltGray">
            <a:xfrm>
              <a:off x="6445332" y="0"/>
              <a:ext cx="5507233" cy="4841081"/>
            </a:xfrm>
            <a:custGeom>
              <a:avLst/>
              <a:gdLst>
                <a:gd name="connsiteX0" fmla="*/ 0 w 5507233"/>
                <a:gd name="connsiteY0" fmla="*/ 0 h 4841081"/>
                <a:gd name="connsiteX1" fmla="*/ 610810 w 5507233"/>
                <a:gd name="connsiteY1" fmla="*/ 0 h 4841081"/>
                <a:gd name="connsiteX2" fmla="*/ 3981656 w 5507233"/>
                <a:gd name="connsiteY2" fmla="*/ 1569869 h 4841081"/>
                <a:gd name="connsiteX3" fmla="*/ 4665678 w 5507233"/>
                <a:gd name="connsiteY3" fmla="*/ 3036941 h 4841081"/>
                <a:gd name="connsiteX4" fmla="*/ 5507233 w 5507233"/>
                <a:gd name="connsiteY4" fmla="*/ 4841081 h 4841081"/>
                <a:gd name="connsiteX5" fmla="*/ 1349206 w 5507233"/>
                <a:gd name="connsiteY5" fmla="*/ 2911232 h 4841081"/>
                <a:gd name="connsiteX6" fmla="*/ 510415 w 5507233"/>
                <a:gd name="connsiteY6" fmla="*/ 1101566 h 4841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07233" h="4841081">
                  <a:moveTo>
                    <a:pt x="0" y="0"/>
                  </a:moveTo>
                  <a:lnTo>
                    <a:pt x="610810" y="0"/>
                  </a:lnTo>
                  <a:lnTo>
                    <a:pt x="3981656" y="1569869"/>
                  </a:lnTo>
                  <a:lnTo>
                    <a:pt x="4665678" y="3036941"/>
                  </a:lnTo>
                  <a:lnTo>
                    <a:pt x="5507233" y="4841081"/>
                  </a:lnTo>
                  <a:lnTo>
                    <a:pt x="1349206" y="2911232"/>
                  </a:lnTo>
                  <a:lnTo>
                    <a:pt x="510415" y="1101566"/>
                  </a:lnTo>
                  <a:close/>
                </a:path>
              </a:pathLst>
            </a:custGeom>
            <a:solidFill>
              <a:srgbClr val="C1DEC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ltGray">
            <a:xfrm>
              <a:off x="7057081" y="0"/>
              <a:ext cx="3369896" cy="1569243"/>
            </a:xfrm>
            <a:custGeom>
              <a:avLst/>
              <a:gdLst>
                <a:gd name="connsiteX0" fmla="*/ 0 w 3369896"/>
                <a:gd name="connsiteY0" fmla="*/ 0 h 1569243"/>
                <a:gd name="connsiteX1" fmla="*/ 2638619 w 3369896"/>
                <a:gd name="connsiteY1" fmla="*/ 0 h 1569243"/>
                <a:gd name="connsiteX2" fmla="*/ 3369896 w 3369896"/>
                <a:gd name="connsiteY2" fmla="*/ 1569243 h 156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9896" h="1569243">
                  <a:moveTo>
                    <a:pt x="0" y="0"/>
                  </a:moveTo>
                  <a:lnTo>
                    <a:pt x="2638619" y="0"/>
                  </a:lnTo>
                  <a:lnTo>
                    <a:pt x="3369896" y="1569243"/>
                  </a:lnTo>
                  <a:close/>
                </a:path>
              </a:pathLst>
            </a:custGeom>
            <a:solidFill>
              <a:srgbClr val="8AC5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ltGray">
            <a:xfrm>
              <a:off x="9696133" y="1"/>
              <a:ext cx="2495867" cy="2390792"/>
            </a:xfrm>
            <a:custGeom>
              <a:avLst/>
              <a:gdLst>
                <a:gd name="connsiteX0" fmla="*/ 0 w 2495867"/>
                <a:gd name="connsiteY0" fmla="*/ 0 h 2390792"/>
                <a:gd name="connsiteX1" fmla="*/ 2495867 w 2495867"/>
                <a:gd name="connsiteY1" fmla="*/ 0 h 2390792"/>
                <a:gd name="connsiteX2" fmla="*/ 2495867 w 2495867"/>
                <a:gd name="connsiteY2" fmla="*/ 2390792 h 2390792"/>
                <a:gd name="connsiteX3" fmla="*/ 731462 w 2495867"/>
                <a:gd name="connsiteY3" fmla="*/ 1569401 h 239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5867" h="2390792">
                  <a:moveTo>
                    <a:pt x="0" y="0"/>
                  </a:moveTo>
                  <a:lnTo>
                    <a:pt x="2495867" y="0"/>
                  </a:lnTo>
                  <a:lnTo>
                    <a:pt x="2495867" y="2390792"/>
                  </a:lnTo>
                  <a:lnTo>
                    <a:pt x="731462" y="1569401"/>
                  </a:lnTo>
                  <a:close/>
                </a:path>
              </a:pathLst>
            </a:custGeom>
            <a:solidFill>
              <a:srgbClr val="CEE5C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</p:grp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611442" y="6340334"/>
            <a:ext cx="3795784" cy="110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16" b="1" baseline="0">
                <a:solidFill>
                  <a:schemeClr val="accent6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611441" y="6493758"/>
            <a:ext cx="4038929" cy="110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16" baseline="0">
                <a:solidFill>
                  <a:schemeClr val="accent6"/>
                </a:solidFill>
                <a:latin typeface="+mn-lt"/>
              </a:rPr>
              <a:t>Last Modified 9/1/2021 9:10 AM Arab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611442" y="6647183"/>
            <a:ext cx="3795784" cy="110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716" baseline="0">
                <a:solidFill>
                  <a:schemeClr val="accent6"/>
                </a:solidFill>
                <a:latin typeface="+mn-lt"/>
              </a:rPr>
              <a:t>Printed 29/12/2019 07:18 Arab Standard Time</a:t>
            </a:r>
            <a:endParaRPr lang="en-US" sz="716" baseline="0">
              <a:solidFill>
                <a:schemeClr val="accent6"/>
              </a:solidFill>
              <a:latin typeface="+mn-lt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ltGray">
          <a:xfrm>
            <a:off x="611443" y="542925"/>
            <a:ext cx="2688569" cy="841321"/>
          </a:xfrm>
          <a:prstGeom prst="rect">
            <a:avLst/>
          </a:prstGeom>
        </p:spPr>
      </p:pic>
      <p:cxnSp>
        <p:nvCxnSpPr>
          <p:cNvPr id="37" name="Straight Connector 36"/>
          <p:cNvCxnSpPr/>
          <p:nvPr userDrawn="1"/>
        </p:nvCxnSpPr>
        <p:spPr bwMode="auto">
          <a:xfrm>
            <a:off x="611442" y="6252508"/>
            <a:ext cx="5171091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</p:cxnSp>
      <p:sp>
        <p:nvSpPr>
          <p:cNvPr id="17" name="doc id"/>
          <p:cNvSpPr>
            <a:spLocks noChangeArrowheads="1"/>
          </p:cNvSpPr>
          <p:nvPr userDrawn="1"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726814"/>
            <a:endParaRPr lang="en-US" sz="650" baseline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611441" y="2384444"/>
            <a:ext cx="6027484" cy="440744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sz="2864" b="1" baseline="0">
                <a:solidFill>
                  <a:schemeClr val="accent3">
                    <a:lumMod val="75000"/>
                  </a:schemeClr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611442" y="4099796"/>
            <a:ext cx="6027484" cy="3371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591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auto">
          <a:xfrm>
            <a:off x="611441" y="5619262"/>
            <a:ext cx="6027484" cy="195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273" baseline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356392983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996502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oc id"/>
          <p:cNvSpPr>
            <a:spLocks noChangeArrowheads="1"/>
          </p:cNvSpPr>
          <p:nvPr userDrawn="1"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726814"/>
            <a:endParaRPr lang="en-US" sz="650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9445505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90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1927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E3100D14-C052-4024-9A78-A97D42DA4F4C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EE8D274-5DB4-4546-BC58-171503D534AA}"/>
              </a:ext>
            </a:extLst>
          </p:cNvPr>
          <p:cNvPicPr>
            <a:picLocks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4564947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138319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doc id"/>
          <p:cNvSpPr>
            <a:spLocks noChangeArrowheads="1"/>
          </p:cNvSpPr>
          <p:nvPr userDrawn="1"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726814"/>
            <a:endParaRPr lang="en-US" sz="650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95915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412">
          <p15:clr>
            <a:srgbClr val="000000"/>
          </p15:clr>
        </p15:guide>
        <p15:guide id="2" orient="horz" pos="582">
          <p15:clr>
            <a:srgbClr val="000000"/>
          </p15:clr>
        </p15:guide>
        <p15:guide id="3" orient="horz" pos="3991">
          <p15:clr>
            <a:srgbClr val="000000"/>
          </p15:clr>
        </p15:guide>
        <p15:guide id="4" pos="98">
          <p15:clr>
            <a:srgbClr val="00000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C974E7-A1D3-41A5-B97E-54F405541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1D8BF6-4A3A-451A-9E9B-03D5BB4DC7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76208" y="2578999"/>
            <a:ext cx="5853024" cy="97926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3447373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2113718"/>
              </p:ext>
            </p:extLst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38D18C3-132D-4EA9-A013-8C02F2367BA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64" b="1" i="0" baseline="0" err="1">
              <a:solidFill>
                <a:schemeClr val="tx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2" name="Group 1"/>
          <p:cNvGrpSpPr/>
          <p:nvPr userDrawn="1"/>
        </p:nvGrpSpPr>
        <p:grpSpPr>
          <a:xfrm rot="5400000">
            <a:off x="5274348" y="-59653"/>
            <a:ext cx="6644930" cy="7190377"/>
            <a:chOff x="4591537" y="0"/>
            <a:chExt cx="7600463" cy="5403547"/>
          </a:xfrm>
        </p:grpSpPr>
        <p:sp>
          <p:nvSpPr>
            <p:cNvPr id="32" name="Freeform 31"/>
            <p:cNvSpPr>
              <a:spLocks/>
            </p:cNvSpPr>
            <p:nvPr userDrawn="1"/>
          </p:nvSpPr>
          <p:spPr bwMode="ltGray">
            <a:xfrm>
              <a:off x="9672169" y="0"/>
              <a:ext cx="2519830" cy="5403547"/>
            </a:xfrm>
            <a:custGeom>
              <a:avLst/>
              <a:gdLst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519830 w 2519830"/>
                <a:gd name="connsiteY2" fmla="*/ 5403547 h 5403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19830" h="5403547">
                  <a:moveTo>
                    <a:pt x="0" y="0"/>
                  </a:moveTo>
                  <a:lnTo>
                    <a:pt x="2519830" y="0"/>
                  </a:lnTo>
                  <a:lnTo>
                    <a:pt x="2519830" y="5403547"/>
                  </a:lnTo>
                  <a:close/>
                </a:path>
              </a:pathLst>
            </a:custGeom>
            <a:solidFill>
              <a:srgbClr val="AAD3A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ltGray">
            <a:xfrm>
              <a:off x="4591537" y="0"/>
              <a:ext cx="2363578" cy="1100931"/>
            </a:xfrm>
            <a:custGeom>
              <a:avLst/>
              <a:gdLst>
                <a:gd name="connsiteX0" fmla="*/ 0 w 2363578"/>
                <a:gd name="connsiteY0" fmla="*/ 0 h 1100931"/>
                <a:gd name="connsiteX1" fmla="*/ 1853488 w 2363578"/>
                <a:gd name="connsiteY1" fmla="*/ 0 h 1100931"/>
                <a:gd name="connsiteX2" fmla="*/ 2363578 w 2363578"/>
                <a:gd name="connsiteY2" fmla="*/ 1100931 h 1100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3578" h="1100931">
                  <a:moveTo>
                    <a:pt x="0" y="0"/>
                  </a:moveTo>
                  <a:lnTo>
                    <a:pt x="1853488" y="0"/>
                  </a:lnTo>
                  <a:lnTo>
                    <a:pt x="2363578" y="1100931"/>
                  </a:lnTo>
                  <a:close/>
                </a:path>
              </a:pathLst>
            </a:custGeom>
            <a:solidFill>
              <a:srgbClr val="E7F2E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ltGray">
            <a:xfrm>
              <a:off x="6445332" y="0"/>
              <a:ext cx="5507232" cy="4841081"/>
            </a:xfrm>
            <a:custGeom>
              <a:avLst/>
              <a:gdLst>
                <a:gd name="connsiteX0" fmla="*/ 0 w 5507233"/>
                <a:gd name="connsiteY0" fmla="*/ 0 h 4841081"/>
                <a:gd name="connsiteX1" fmla="*/ 610810 w 5507233"/>
                <a:gd name="connsiteY1" fmla="*/ 0 h 4841081"/>
                <a:gd name="connsiteX2" fmla="*/ 3981656 w 5507233"/>
                <a:gd name="connsiteY2" fmla="*/ 1569869 h 4841081"/>
                <a:gd name="connsiteX3" fmla="*/ 4665678 w 5507233"/>
                <a:gd name="connsiteY3" fmla="*/ 3036941 h 4841081"/>
                <a:gd name="connsiteX4" fmla="*/ 5507233 w 5507233"/>
                <a:gd name="connsiteY4" fmla="*/ 4841081 h 4841081"/>
                <a:gd name="connsiteX5" fmla="*/ 1349206 w 5507233"/>
                <a:gd name="connsiteY5" fmla="*/ 2911232 h 4841081"/>
                <a:gd name="connsiteX6" fmla="*/ 510415 w 5507233"/>
                <a:gd name="connsiteY6" fmla="*/ 1101566 h 4841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07233" h="4841081">
                  <a:moveTo>
                    <a:pt x="0" y="0"/>
                  </a:moveTo>
                  <a:lnTo>
                    <a:pt x="610810" y="0"/>
                  </a:lnTo>
                  <a:lnTo>
                    <a:pt x="3981656" y="1569869"/>
                  </a:lnTo>
                  <a:lnTo>
                    <a:pt x="4665678" y="3036941"/>
                  </a:lnTo>
                  <a:lnTo>
                    <a:pt x="5507233" y="4841081"/>
                  </a:lnTo>
                  <a:lnTo>
                    <a:pt x="1349206" y="2911232"/>
                  </a:lnTo>
                  <a:lnTo>
                    <a:pt x="510415" y="1101566"/>
                  </a:lnTo>
                  <a:close/>
                </a:path>
              </a:pathLst>
            </a:custGeom>
            <a:solidFill>
              <a:srgbClr val="C1DEC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ltGray">
            <a:xfrm>
              <a:off x="7057080" y="0"/>
              <a:ext cx="3369896" cy="1569243"/>
            </a:xfrm>
            <a:custGeom>
              <a:avLst/>
              <a:gdLst>
                <a:gd name="connsiteX0" fmla="*/ 0 w 3369896"/>
                <a:gd name="connsiteY0" fmla="*/ 0 h 1569243"/>
                <a:gd name="connsiteX1" fmla="*/ 2638619 w 3369896"/>
                <a:gd name="connsiteY1" fmla="*/ 0 h 1569243"/>
                <a:gd name="connsiteX2" fmla="*/ 3369896 w 3369896"/>
                <a:gd name="connsiteY2" fmla="*/ 1569243 h 156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9896" h="1569243">
                  <a:moveTo>
                    <a:pt x="0" y="0"/>
                  </a:moveTo>
                  <a:lnTo>
                    <a:pt x="2638619" y="0"/>
                  </a:lnTo>
                  <a:lnTo>
                    <a:pt x="3369896" y="1569243"/>
                  </a:lnTo>
                  <a:close/>
                </a:path>
              </a:pathLst>
            </a:custGeom>
            <a:solidFill>
              <a:srgbClr val="8AC5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ltGray">
            <a:xfrm>
              <a:off x="9696133" y="1"/>
              <a:ext cx="2495867" cy="2390792"/>
            </a:xfrm>
            <a:custGeom>
              <a:avLst/>
              <a:gdLst>
                <a:gd name="connsiteX0" fmla="*/ 0 w 2495867"/>
                <a:gd name="connsiteY0" fmla="*/ 0 h 2390792"/>
                <a:gd name="connsiteX1" fmla="*/ 2495867 w 2495867"/>
                <a:gd name="connsiteY1" fmla="*/ 0 h 2390792"/>
                <a:gd name="connsiteX2" fmla="*/ 2495867 w 2495867"/>
                <a:gd name="connsiteY2" fmla="*/ 2390792 h 2390792"/>
                <a:gd name="connsiteX3" fmla="*/ 731462 w 2495867"/>
                <a:gd name="connsiteY3" fmla="*/ 1569401 h 239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5867" h="2390792">
                  <a:moveTo>
                    <a:pt x="0" y="0"/>
                  </a:moveTo>
                  <a:lnTo>
                    <a:pt x="2495867" y="0"/>
                  </a:lnTo>
                  <a:lnTo>
                    <a:pt x="2495867" y="2390792"/>
                  </a:lnTo>
                  <a:lnTo>
                    <a:pt x="731462" y="1569401"/>
                  </a:lnTo>
                  <a:close/>
                </a:path>
              </a:pathLst>
            </a:custGeom>
            <a:solidFill>
              <a:srgbClr val="CEE5C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465"/>
            </a:p>
          </p:txBody>
        </p:sp>
      </p:grp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611442" y="6340334"/>
            <a:ext cx="3795784" cy="110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16" b="1" baseline="0">
                <a:solidFill>
                  <a:schemeClr val="accent6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611441" y="6493758"/>
            <a:ext cx="4038929" cy="110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16" baseline="0">
                <a:solidFill>
                  <a:schemeClr val="accent6"/>
                </a:solidFill>
                <a:latin typeface="+mn-lt"/>
              </a:rPr>
              <a:t>Last Modified 9/1/2021 9:10 AM Arab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611442" y="6647183"/>
            <a:ext cx="3795784" cy="110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716" baseline="0">
                <a:solidFill>
                  <a:schemeClr val="accent6"/>
                </a:solidFill>
                <a:latin typeface="+mn-lt"/>
              </a:rPr>
              <a:t>Printed 29/12/2019 07:18 Arab Standard Time</a:t>
            </a:r>
            <a:endParaRPr lang="en-US" sz="716" baseline="0">
              <a:solidFill>
                <a:schemeClr val="accent6"/>
              </a:solidFill>
              <a:latin typeface="+mn-lt"/>
            </a:endParaRPr>
          </a:p>
        </p:txBody>
      </p:sp>
      <p:cxnSp>
        <p:nvCxnSpPr>
          <p:cNvPr id="37" name="Straight Connector 36"/>
          <p:cNvCxnSpPr/>
          <p:nvPr userDrawn="1"/>
        </p:nvCxnSpPr>
        <p:spPr bwMode="auto">
          <a:xfrm>
            <a:off x="611442" y="6252508"/>
            <a:ext cx="5171091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</p:cxnSp>
      <p:sp>
        <p:nvSpPr>
          <p:cNvPr id="17" name="doc id"/>
          <p:cNvSpPr>
            <a:spLocks noChangeArrowheads="1"/>
          </p:cNvSpPr>
          <p:nvPr userDrawn="1"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726814"/>
            <a:endParaRPr lang="en-US" sz="650" baseline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611442" y="2993759"/>
            <a:ext cx="4523581" cy="8740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54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auto">
          <a:xfrm>
            <a:off x="611441" y="5619262"/>
            <a:ext cx="6027484" cy="195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273" baseline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2289B8C-0888-4980-A80E-8295A6B9F249}"/>
              </a:ext>
            </a:extLst>
          </p:cNvPr>
          <p:cNvCxnSpPr/>
          <p:nvPr userDrawn="1"/>
        </p:nvCxnSpPr>
        <p:spPr bwMode="ltGray">
          <a:xfrm flipV="1">
            <a:off x="469537" y="934069"/>
            <a:ext cx="10966610" cy="26908"/>
          </a:xfrm>
          <a:prstGeom prst="line">
            <a:avLst/>
          </a:prstGeom>
          <a:noFill/>
          <a:ln w="6350" cap="flat" cmpd="sng" algn="ctr">
            <a:solidFill>
              <a:srgbClr val="A5A5A5"/>
            </a:solidFill>
            <a:prstDash val="solid"/>
            <a:miter lim="800000"/>
          </a:ln>
          <a:effectLst/>
        </p:spPr>
      </p:cxnSp>
      <p:sp>
        <p:nvSpPr>
          <p:cNvPr id="19" name="Title Placeholder 2">
            <a:extLst>
              <a:ext uri="{FF2B5EF4-FFF2-40B4-BE49-F238E27FC236}">
                <a16:creationId xmlns:a16="http://schemas.microsoft.com/office/drawing/2014/main" id="{D66E2747-7733-4D64-B4ED-6606B428EA6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65414" y="300917"/>
            <a:ext cx="10966610" cy="5706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28627326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1910" b="1"/>
            </a:lvl1pPr>
            <a:lvl2pPr marL="363755" indent="0">
              <a:buNone/>
              <a:defRPr sz="1591" b="1"/>
            </a:lvl2pPr>
            <a:lvl3pPr marL="727510" indent="0">
              <a:buNone/>
              <a:defRPr sz="1432" b="1"/>
            </a:lvl3pPr>
            <a:lvl4pPr marL="1091265" indent="0">
              <a:buNone/>
              <a:defRPr sz="1273" b="1"/>
            </a:lvl4pPr>
            <a:lvl5pPr marL="1455020" indent="0">
              <a:buNone/>
              <a:defRPr sz="1273" b="1"/>
            </a:lvl5pPr>
            <a:lvl6pPr marL="1818775" indent="0">
              <a:buNone/>
              <a:defRPr sz="1273" b="1"/>
            </a:lvl6pPr>
            <a:lvl7pPr marL="2182529" indent="0">
              <a:buNone/>
              <a:defRPr sz="1273" b="1"/>
            </a:lvl7pPr>
            <a:lvl8pPr marL="2546285" indent="0">
              <a:buNone/>
              <a:defRPr sz="1273" b="1"/>
            </a:lvl8pPr>
            <a:lvl9pPr marL="2910039" indent="0">
              <a:buNone/>
              <a:defRPr sz="127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1910" b="1"/>
            </a:lvl1pPr>
            <a:lvl2pPr marL="363755" indent="0">
              <a:buNone/>
              <a:defRPr sz="1591" b="1"/>
            </a:lvl2pPr>
            <a:lvl3pPr marL="727510" indent="0">
              <a:buNone/>
              <a:defRPr sz="1432" b="1"/>
            </a:lvl3pPr>
            <a:lvl4pPr marL="1091265" indent="0">
              <a:buNone/>
              <a:defRPr sz="1273" b="1"/>
            </a:lvl4pPr>
            <a:lvl5pPr marL="1455020" indent="0">
              <a:buNone/>
              <a:defRPr sz="1273" b="1"/>
            </a:lvl5pPr>
            <a:lvl6pPr marL="1818775" indent="0">
              <a:buNone/>
              <a:defRPr sz="1273" b="1"/>
            </a:lvl6pPr>
            <a:lvl7pPr marL="2182529" indent="0">
              <a:buNone/>
              <a:defRPr sz="1273" b="1"/>
            </a:lvl7pPr>
            <a:lvl8pPr marL="2546285" indent="0">
              <a:buNone/>
              <a:defRPr sz="1273" b="1"/>
            </a:lvl8pPr>
            <a:lvl9pPr marL="2910039" indent="0">
              <a:buNone/>
              <a:defRPr sz="127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F3061AA9-A6A3-4CE1-A856-DD4F656C96FC">
            <a:extLst>
              <a:ext uri="{FF2B5EF4-FFF2-40B4-BE49-F238E27FC236}">
                <a16:creationId xmlns:a16="http://schemas.microsoft.com/office/drawing/2014/main" id="{8CCA7D17-01A1-4ABF-99C8-7197445977E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7192" y="5862406"/>
            <a:ext cx="1631183" cy="9955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8399540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27250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1" name="Group 20">
            <a:extLst>
              <a:ext uri="{FF2B5EF4-FFF2-40B4-BE49-F238E27FC236}">
                <a16:creationId xmlns:a16="http://schemas.microsoft.com/office/drawing/2014/main" id="{ABE20079-317D-4FF6-9684-AA9B0F2E05B7}"/>
              </a:ext>
            </a:extLst>
          </p:cNvPr>
          <p:cNvGrpSpPr/>
          <p:nvPr userDrawn="1"/>
        </p:nvGrpSpPr>
        <p:grpSpPr bwMode="ltGray">
          <a:xfrm>
            <a:off x="-15898" y="-12038"/>
            <a:ext cx="12207898" cy="6870038"/>
            <a:chOff x="-15898" y="-12038"/>
            <a:chExt cx="12207898" cy="6870038"/>
          </a:xfrm>
        </p:grpSpPr>
        <p:pic>
          <p:nvPicPr>
            <p:cNvPr id="22" name="Picture 65" descr="About">
              <a:extLst>
                <a:ext uri="{FF2B5EF4-FFF2-40B4-BE49-F238E27FC236}">
                  <a16:creationId xmlns:a16="http://schemas.microsoft.com/office/drawing/2014/main" id="{957E44BD-EE8D-4695-ABA2-0753259E916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886" r="5521"/>
            <a:stretch/>
          </p:blipFill>
          <p:spPr bwMode="ltGray">
            <a:xfrm>
              <a:off x="-15898" y="0"/>
              <a:ext cx="12207898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1516671B-FB20-4F1D-BBC2-8B2B6B9CFB5B}"/>
                </a:ext>
              </a:extLst>
            </p:cNvPr>
            <p:cNvSpPr/>
            <p:nvPr/>
          </p:nvSpPr>
          <p:spPr bwMode="ltGray">
            <a:xfrm>
              <a:off x="-15898" y="0"/>
              <a:ext cx="12207898" cy="6858000"/>
            </a:xfrm>
            <a:prstGeom prst="rect">
              <a:avLst/>
            </a:prstGeom>
            <a:gradFill flip="none" rotWithShape="1">
              <a:gsLst>
                <a:gs pos="18000">
                  <a:srgbClr val="3F6B39">
                    <a:alpha val="86000"/>
                  </a:srgbClr>
                </a:gs>
                <a:gs pos="100000">
                  <a:srgbClr val="3F6B39">
                    <a:alpha val="35000"/>
                  </a:srgbClr>
                </a:gs>
              </a:gsLst>
              <a:lin ang="0" scaled="1"/>
              <a:tileRect/>
            </a:gradFill>
            <a:ln w="9525" cap="flat" cmpd="sng" algn="ctr">
              <a:solidFill>
                <a:srgbClr val="3F6B39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Group 1">
              <a:extLst>
                <a:ext uri="{FF2B5EF4-FFF2-40B4-BE49-F238E27FC236}">
                  <a16:creationId xmlns:a16="http://schemas.microsoft.com/office/drawing/2014/main" id="{BEA29757-EEB9-441E-8E05-A7FC79B582B0}"/>
                </a:ext>
              </a:extLst>
            </p:cNvPr>
            <p:cNvSpPr>
              <a:spLocks/>
            </p:cNvSpPr>
            <p:nvPr/>
          </p:nvSpPr>
          <p:spPr bwMode="ltGray">
            <a:xfrm>
              <a:off x="4591537" y="0"/>
              <a:ext cx="2363578" cy="1100931"/>
            </a:xfrm>
            <a:custGeom>
              <a:avLst/>
              <a:gdLst>
                <a:gd name="connsiteX0" fmla="*/ 0 w 2363578"/>
                <a:gd name="connsiteY0" fmla="*/ 0 h 1100931"/>
                <a:gd name="connsiteX1" fmla="*/ 1853488 w 2363578"/>
                <a:gd name="connsiteY1" fmla="*/ 0 h 1100931"/>
                <a:gd name="connsiteX2" fmla="*/ 2363578 w 2363578"/>
                <a:gd name="connsiteY2" fmla="*/ 1100931 h 1100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3578" h="1100931">
                  <a:moveTo>
                    <a:pt x="0" y="0"/>
                  </a:moveTo>
                  <a:lnTo>
                    <a:pt x="1853488" y="0"/>
                  </a:lnTo>
                  <a:lnTo>
                    <a:pt x="2363578" y="1100931"/>
                  </a:lnTo>
                  <a:close/>
                </a:path>
              </a:pathLst>
            </a:custGeom>
            <a:solidFill>
              <a:srgbClr val="FFFFFF">
                <a:alpha val="36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Freeform 34">
              <a:extLst>
                <a:ext uri="{FF2B5EF4-FFF2-40B4-BE49-F238E27FC236}">
                  <a16:creationId xmlns:a16="http://schemas.microsoft.com/office/drawing/2014/main" id="{AED4654A-20C8-4FAF-86B1-666B50010C77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7057081" y="0"/>
              <a:ext cx="3369896" cy="1569243"/>
            </a:xfrm>
            <a:custGeom>
              <a:avLst/>
              <a:gdLst>
                <a:gd name="connsiteX0" fmla="*/ 0 w 3369896"/>
                <a:gd name="connsiteY0" fmla="*/ 0 h 1569243"/>
                <a:gd name="connsiteX1" fmla="*/ 2638619 w 3369896"/>
                <a:gd name="connsiteY1" fmla="*/ 0 h 1569243"/>
                <a:gd name="connsiteX2" fmla="*/ 3369896 w 3369896"/>
                <a:gd name="connsiteY2" fmla="*/ 1569243 h 156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9896" h="1569243">
                  <a:moveTo>
                    <a:pt x="0" y="0"/>
                  </a:moveTo>
                  <a:lnTo>
                    <a:pt x="2638619" y="0"/>
                  </a:lnTo>
                  <a:lnTo>
                    <a:pt x="3369896" y="1569243"/>
                  </a:lnTo>
                  <a:close/>
                </a:path>
              </a:pathLst>
            </a:custGeom>
            <a:solidFill>
              <a:srgbClr val="FFD100">
                <a:alpha val="49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" name="Freeform 35">
              <a:extLst>
                <a:ext uri="{FF2B5EF4-FFF2-40B4-BE49-F238E27FC236}">
                  <a16:creationId xmlns:a16="http://schemas.microsoft.com/office/drawing/2014/main" id="{4E5FF1D3-8BF9-472B-BD24-2F2AFB803D13}"/>
                </a:ext>
              </a:extLst>
            </p:cNvPr>
            <p:cNvSpPr>
              <a:spLocks/>
            </p:cNvSpPr>
            <p:nvPr/>
          </p:nvSpPr>
          <p:spPr bwMode="ltGray">
            <a:xfrm>
              <a:off x="9696133" y="1"/>
              <a:ext cx="2495867" cy="2390792"/>
            </a:xfrm>
            <a:custGeom>
              <a:avLst/>
              <a:gdLst>
                <a:gd name="connsiteX0" fmla="*/ 0 w 2495867"/>
                <a:gd name="connsiteY0" fmla="*/ 0 h 2390792"/>
                <a:gd name="connsiteX1" fmla="*/ 2495867 w 2495867"/>
                <a:gd name="connsiteY1" fmla="*/ 0 h 2390792"/>
                <a:gd name="connsiteX2" fmla="*/ 2495867 w 2495867"/>
                <a:gd name="connsiteY2" fmla="*/ 2390792 h 2390792"/>
                <a:gd name="connsiteX3" fmla="*/ 731462 w 2495867"/>
                <a:gd name="connsiteY3" fmla="*/ 1569401 h 239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5867" h="2390792">
                  <a:moveTo>
                    <a:pt x="0" y="0"/>
                  </a:moveTo>
                  <a:lnTo>
                    <a:pt x="2495867" y="0"/>
                  </a:lnTo>
                  <a:lnTo>
                    <a:pt x="2495867" y="2390792"/>
                  </a:lnTo>
                  <a:lnTo>
                    <a:pt x="731462" y="1569401"/>
                  </a:lnTo>
                  <a:close/>
                </a:path>
              </a:pathLst>
            </a:custGeom>
            <a:solidFill>
              <a:srgbClr val="5D9E54">
                <a:alpha val="58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" name="doc id">
              <a:extLst>
                <a:ext uri="{FF2B5EF4-FFF2-40B4-BE49-F238E27FC236}">
                  <a16:creationId xmlns:a16="http://schemas.microsoft.com/office/drawing/2014/main" id="{D32DC00C-C6B9-4638-A668-8F4F2A907D3B}"/>
                </a:ext>
              </a:extLst>
            </p:cNvPr>
            <p:cNvSpPr>
              <a:spLocks noChangeArrowheads="1"/>
            </p:cNvSpPr>
            <p:nvPr/>
          </p:nvSpPr>
          <p:spPr bwMode="ltGray">
            <a:xfrm>
              <a:off x="11064591" y="51833"/>
              <a:ext cx="894152" cy="1247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marL="0" marR="0" lvl="0" indent="0" algn="r" defTabSz="9135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16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F80159D0-6749-4DB5-9263-0C2BD85849B0}"/>
                </a:ext>
              </a:extLst>
            </p:cNvPr>
            <p:cNvSpPr>
              <a:spLocks/>
            </p:cNvSpPr>
            <p:nvPr/>
          </p:nvSpPr>
          <p:spPr bwMode="ltGray">
            <a:xfrm>
              <a:off x="10427596" y="1569403"/>
              <a:ext cx="1764404" cy="3834145"/>
            </a:xfrm>
            <a:custGeom>
              <a:avLst/>
              <a:gdLst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519830 w 2519830"/>
                <a:gd name="connsiteY2" fmla="*/ 1 h 5403547"/>
                <a:gd name="connsiteX3" fmla="*/ 23964 w 2519830"/>
                <a:gd name="connsiteY3" fmla="*/ 1 h 5403547"/>
                <a:gd name="connsiteX4" fmla="*/ 755426 w 2519830"/>
                <a:gd name="connsiteY4" fmla="*/ 1569402 h 5403547"/>
                <a:gd name="connsiteX5" fmla="*/ 2519830 w 2519830"/>
                <a:gd name="connsiteY5" fmla="*/ 2390793 h 5403547"/>
                <a:gd name="connsiteX6" fmla="*/ 2519830 w 2519830"/>
                <a:gd name="connsiteY6" fmla="*/ 5403547 h 5403547"/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3964 w 2519830"/>
                <a:gd name="connsiteY2" fmla="*/ 1 h 5403547"/>
                <a:gd name="connsiteX3" fmla="*/ 755426 w 2519830"/>
                <a:gd name="connsiteY3" fmla="*/ 1569402 h 5403547"/>
                <a:gd name="connsiteX4" fmla="*/ 2519830 w 2519830"/>
                <a:gd name="connsiteY4" fmla="*/ 2390793 h 5403547"/>
                <a:gd name="connsiteX5" fmla="*/ 2519830 w 2519830"/>
                <a:gd name="connsiteY5" fmla="*/ 5403547 h 5403547"/>
                <a:gd name="connsiteX6" fmla="*/ 0 w 2519830"/>
                <a:gd name="connsiteY6" fmla="*/ 0 h 5403547"/>
                <a:gd name="connsiteX0" fmla="*/ 0 w 2519830"/>
                <a:gd name="connsiteY0" fmla="*/ 0 h 5403547"/>
                <a:gd name="connsiteX1" fmla="*/ 23964 w 2519830"/>
                <a:gd name="connsiteY1" fmla="*/ 1 h 5403547"/>
                <a:gd name="connsiteX2" fmla="*/ 755426 w 2519830"/>
                <a:gd name="connsiteY2" fmla="*/ 1569402 h 5403547"/>
                <a:gd name="connsiteX3" fmla="*/ 2519830 w 2519830"/>
                <a:gd name="connsiteY3" fmla="*/ 2390793 h 5403547"/>
                <a:gd name="connsiteX4" fmla="*/ 2519830 w 2519830"/>
                <a:gd name="connsiteY4" fmla="*/ 5403547 h 5403547"/>
                <a:gd name="connsiteX5" fmla="*/ 0 w 2519830"/>
                <a:gd name="connsiteY5" fmla="*/ 0 h 5403547"/>
                <a:gd name="connsiteX0" fmla="*/ 2495866 w 2495866"/>
                <a:gd name="connsiteY0" fmla="*/ 5403546 h 5403546"/>
                <a:gd name="connsiteX1" fmla="*/ 0 w 2495866"/>
                <a:gd name="connsiteY1" fmla="*/ 0 h 5403546"/>
                <a:gd name="connsiteX2" fmla="*/ 731462 w 2495866"/>
                <a:gd name="connsiteY2" fmla="*/ 1569401 h 5403546"/>
                <a:gd name="connsiteX3" fmla="*/ 2495866 w 2495866"/>
                <a:gd name="connsiteY3" fmla="*/ 2390792 h 5403546"/>
                <a:gd name="connsiteX4" fmla="*/ 2495866 w 2495866"/>
                <a:gd name="connsiteY4" fmla="*/ 5403546 h 5403546"/>
                <a:gd name="connsiteX0" fmla="*/ 1764404 w 1764404"/>
                <a:gd name="connsiteY0" fmla="*/ 3834145 h 3834145"/>
                <a:gd name="connsiteX1" fmla="*/ 0 w 1764404"/>
                <a:gd name="connsiteY1" fmla="*/ 0 h 3834145"/>
                <a:gd name="connsiteX2" fmla="*/ 1764404 w 1764404"/>
                <a:gd name="connsiteY2" fmla="*/ 821391 h 3834145"/>
                <a:gd name="connsiteX3" fmla="*/ 1764404 w 1764404"/>
                <a:gd name="connsiteY3" fmla="*/ 3834145 h 3834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64404" h="3834145">
                  <a:moveTo>
                    <a:pt x="1764404" y="3834145"/>
                  </a:moveTo>
                  <a:lnTo>
                    <a:pt x="0" y="0"/>
                  </a:lnTo>
                  <a:lnTo>
                    <a:pt x="1764404" y="821391"/>
                  </a:lnTo>
                  <a:lnTo>
                    <a:pt x="1764404" y="3834145"/>
                  </a:lnTo>
                  <a:close/>
                </a:path>
              </a:pathLst>
            </a:custGeom>
            <a:solidFill>
              <a:srgbClr val="FFD100">
                <a:alpha val="49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29" name="Picture 12">
              <a:extLst>
                <a:ext uri="{FF2B5EF4-FFF2-40B4-BE49-F238E27FC236}">
                  <a16:creationId xmlns:a16="http://schemas.microsoft.com/office/drawing/2014/main" id="{59BA4928-D1F4-4469-8793-2852B2E49AE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 bwMode="ltGray">
            <a:xfrm>
              <a:off x="611441" y="542924"/>
              <a:ext cx="2688569" cy="841321"/>
            </a:xfrm>
            <a:prstGeom prst="rect">
              <a:avLst/>
            </a:prstGeom>
          </p:spPr>
        </p:pic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E4F280B4-D75B-46AB-A268-90910F535ED6}"/>
                </a:ext>
              </a:extLst>
            </p:cNvPr>
            <p:cNvSpPr>
              <a:spLocks/>
            </p:cNvSpPr>
            <p:nvPr/>
          </p:nvSpPr>
          <p:spPr bwMode="ltGray">
            <a:xfrm>
              <a:off x="6443063" y="-12038"/>
              <a:ext cx="5474706" cy="4825984"/>
            </a:xfrm>
            <a:custGeom>
              <a:avLst/>
              <a:gdLst>
                <a:gd name="connsiteX0" fmla="*/ 0 w 5474706"/>
                <a:gd name="connsiteY0" fmla="*/ 0 h 4825984"/>
                <a:gd name="connsiteX1" fmla="*/ 610810 w 5474706"/>
                <a:gd name="connsiteY1" fmla="*/ 0 h 4825984"/>
                <a:gd name="connsiteX2" fmla="*/ 3981656 w 5474706"/>
                <a:gd name="connsiteY2" fmla="*/ 1569869 h 4825984"/>
                <a:gd name="connsiteX3" fmla="*/ 3982923 w 5474706"/>
                <a:gd name="connsiteY3" fmla="*/ 1572586 h 4825984"/>
                <a:gd name="connsiteX4" fmla="*/ 3976086 w 5474706"/>
                <a:gd name="connsiteY4" fmla="*/ 1569403 h 4825984"/>
                <a:gd name="connsiteX5" fmla="*/ 5474706 w 5474706"/>
                <a:gd name="connsiteY5" fmla="*/ 4825984 h 4825984"/>
                <a:gd name="connsiteX6" fmla="*/ 1349206 w 5474706"/>
                <a:gd name="connsiteY6" fmla="*/ 2911232 h 4825984"/>
                <a:gd name="connsiteX7" fmla="*/ 510415 w 5474706"/>
                <a:gd name="connsiteY7" fmla="*/ 1101566 h 4825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474706" h="4825984">
                  <a:moveTo>
                    <a:pt x="0" y="0"/>
                  </a:moveTo>
                  <a:lnTo>
                    <a:pt x="610810" y="0"/>
                  </a:lnTo>
                  <a:lnTo>
                    <a:pt x="3981656" y="1569869"/>
                  </a:lnTo>
                  <a:lnTo>
                    <a:pt x="3982923" y="1572586"/>
                  </a:lnTo>
                  <a:lnTo>
                    <a:pt x="3976086" y="1569403"/>
                  </a:lnTo>
                  <a:lnTo>
                    <a:pt x="5474706" y="4825984"/>
                  </a:lnTo>
                  <a:lnTo>
                    <a:pt x="1349206" y="2911232"/>
                  </a:lnTo>
                  <a:lnTo>
                    <a:pt x="510415" y="1101566"/>
                  </a:lnTo>
                  <a:close/>
                </a:path>
              </a:pathLst>
            </a:custGeom>
            <a:solidFill>
              <a:srgbClr val="5D9E54">
                <a:alpha val="58000"/>
              </a:srgbClr>
            </a:solidFill>
            <a:ln w="0">
              <a:solidFill>
                <a:srgbClr val="8AC58F">
                  <a:lumMod val="60000"/>
                  <a:lumOff val="40000"/>
                </a:srgb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6192267"/>
            <a:ext cx="683583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1" y="5774658"/>
            <a:ext cx="683583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2" y="2210324"/>
            <a:ext cx="6835830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4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4230660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28981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b="0" baseline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1762235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4443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436BD0A4-69D3-402B-A9A9-C50227B15FE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143172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9320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30A6A7F9-7F25-47B4-9EFD-7399510D5D3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520801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25710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3B0E45EA-7BE5-442F-9560-4747E835161F}"/>
              </a:ext>
            </a:extLst>
          </p:cNvPr>
          <p:cNvSpPr/>
          <p:nvPr userDrawn="1"/>
        </p:nvSpPr>
        <p:spPr bwMode="ltGray">
          <a:xfrm>
            <a:off x="0" y="5819792"/>
            <a:ext cx="12191999" cy="1038208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1FE66A3-9B4F-48DD-973A-A48B59160229}"/>
              </a:ext>
            </a:extLst>
          </p:cNvPr>
          <p:cNvGrpSpPr/>
          <p:nvPr userDrawn="1"/>
        </p:nvGrpSpPr>
        <p:grpSpPr bwMode="ltGray">
          <a:xfrm>
            <a:off x="4591537" y="0"/>
            <a:ext cx="7600463" cy="5403547"/>
            <a:chOff x="4591537" y="0"/>
            <a:chExt cx="7600463" cy="5403547"/>
          </a:xfrm>
        </p:grpSpPr>
        <p:sp>
          <p:nvSpPr>
            <p:cNvPr id="20" name="Freeform 31">
              <a:extLst>
                <a:ext uri="{FF2B5EF4-FFF2-40B4-BE49-F238E27FC236}">
                  <a16:creationId xmlns:a16="http://schemas.microsoft.com/office/drawing/2014/main" id="{90667E4D-EBC4-4CC1-9855-F12F3B69DC10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672169" y="0"/>
              <a:ext cx="2519830" cy="5403547"/>
            </a:xfrm>
            <a:custGeom>
              <a:avLst/>
              <a:gdLst>
                <a:gd name="connsiteX0" fmla="*/ 0 w 2519830"/>
                <a:gd name="connsiteY0" fmla="*/ 0 h 5403547"/>
                <a:gd name="connsiteX1" fmla="*/ 2519830 w 2519830"/>
                <a:gd name="connsiteY1" fmla="*/ 0 h 5403547"/>
                <a:gd name="connsiteX2" fmla="*/ 2519830 w 2519830"/>
                <a:gd name="connsiteY2" fmla="*/ 5403547 h 5403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19830" h="5403547">
                  <a:moveTo>
                    <a:pt x="0" y="0"/>
                  </a:moveTo>
                  <a:lnTo>
                    <a:pt x="2519830" y="0"/>
                  </a:lnTo>
                  <a:lnTo>
                    <a:pt x="2519830" y="5403547"/>
                  </a:lnTo>
                  <a:close/>
                </a:path>
              </a:pathLst>
            </a:custGeom>
            <a:solidFill>
              <a:srgbClr val="AAD3A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/>
            </a:p>
          </p:txBody>
        </p:sp>
        <p:sp>
          <p:nvSpPr>
            <p:cNvPr id="21" name="Freeform 32">
              <a:extLst>
                <a:ext uri="{FF2B5EF4-FFF2-40B4-BE49-F238E27FC236}">
                  <a16:creationId xmlns:a16="http://schemas.microsoft.com/office/drawing/2014/main" id="{909150F0-9D58-4AFD-98FE-1555B44A5F76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4591537" y="0"/>
              <a:ext cx="2363578" cy="1100931"/>
            </a:xfrm>
            <a:custGeom>
              <a:avLst/>
              <a:gdLst>
                <a:gd name="connsiteX0" fmla="*/ 0 w 2363578"/>
                <a:gd name="connsiteY0" fmla="*/ 0 h 1100931"/>
                <a:gd name="connsiteX1" fmla="*/ 1853488 w 2363578"/>
                <a:gd name="connsiteY1" fmla="*/ 0 h 1100931"/>
                <a:gd name="connsiteX2" fmla="*/ 2363578 w 2363578"/>
                <a:gd name="connsiteY2" fmla="*/ 1100931 h 1100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63578" h="1100931">
                  <a:moveTo>
                    <a:pt x="0" y="0"/>
                  </a:moveTo>
                  <a:lnTo>
                    <a:pt x="1853488" y="0"/>
                  </a:lnTo>
                  <a:lnTo>
                    <a:pt x="2363578" y="1100931"/>
                  </a:lnTo>
                  <a:close/>
                </a:path>
              </a:pathLst>
            </a:custGeom>
            <a:solidFill>
              <a:srgbClr val="E7F2E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/>
            </a:p>
          </p:txBody>
        </p:sp>
        <p:sp>
          <p:nvSpPr>
            <p:cNvPr id="22" name="Freeform 33">
              <a:extLst>
                <a:ext uri="{FF2B5EF4-FFF2-40B4-BE49-F238E27FC236}">
                  <a16:creationId xmlns:a16="http://schemas.microsoft.com/office/drawing/2014/main" id="{00B217CA-FF7A-4694-A075-3719822C89B1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6445332" y="0"/>
              <a:ext cx="5507233" cy="4841081"/>
            </a:xfrm>
            <a:custGeom>
              <a:avLst/>
              <a:gdLst>
                <a:gd name="connsiteX0" fmla="*/ 0 w 5507233"/>
                <a:gd name="connsiteY0" fmla="*/ 0 h 4841081"/>
                <a:gd name="connsiteX1" fmla="*/ 610810 w 5507233"/>
                <a:gd name="connsiteY1" fmla="*/ 0 h 4841081"/>
                <a:gd name="connsiteX2" fmla="*/ 3981656 w 5507233"/>
                <a:gd name="connsiteY2" fmla="*/ 1569869 h 4841081"/>
                <a:gd name="connsiteX3" fmla="*/ 4665678 w 5507233"/>
                <a:gd name="connsiteY3" fmla="*/ 3036941 h 4841081"/>
                <a:gd name="connsiteX4" fmla="*/ 5507233 w 5507233"/>
                <a:gd name="connsiteY4" fmla="*/ 4841081 h 4841081"/>
                <a:gd name="connsiteX5" fmla="*/ 1349206 w 5507233"/>
                <a:gd name="connsiteY5" fmla="*/ 2911232 h 4841081"/>
                <a:gd name="connsiteX6" fmla="*/ 510415 w 5507233"/>
                <a:gd name="connsiteY6" fmla="*/ 1101566 h 4841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07233" h="4841081">
                  <a:moveTo>
                    <a:pt x="0" y="0"/>
                  </a:moveTo>
                  <a:lnTo>
                    <a:pt x="610810" y="0"/>
                  </a:lnTo>
                  <a:lnTo>
                    <a:pt x="3981656" y="1569869"/>
                  </a:lnTo>
                  <a:lnTo>
                    <a:pt x="4665678" y="3036941"/>
                  </a:lnTo>
                  <a:lnTo>
                    <a:pt x="5507233" y="4841081"/>
                  </a:lnTo>
                  <a:lnTo>
                    <a:pt x="1349206" y="2911232"/>
                  </a:lnTo>
                  <a:lnTo>
                    <a:pt x="510415" y="1101566"/>
                  </a:lnTo>
                  <a:close/>
                </a:path>
              </a:pathLst>
            </a:custGeom>
            <a:solidFill>
              <a:srgbClr val="C1DEC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/>
            </a:p>
          </p:txBody>
        </p:sp>
        <p:sp>
          <p:nvSpPr>
            <p:cNvPr id="23" name="Freeform 34">
              <a:extLst>
                <a:ext uri="{FF2B5EF4-FFF2-40B4-BE49-F238E27FC236}">
                  <a16:creationId xmlns:a16="http://schemas.microsoft.com/office/drawing/2014/main" id="{6E869E1F-0114-4B5B-BC21-BF57D030D68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7057081" y="0"/>
              <a:ext cx="3369896" cy="1569243"/>
            </a:xfrm>
            <a:custGeom>
              <a:avLst/>
              <a:gdLst>
                <a:gd name="connsiteX0" fmla="*/ 0 w 3369896"/>
                <a:gd name="connsiteY0" fmla="*/ 0 h 1569243"/>
                <a:gd name="connsiteX1" fmla="*/ 2638619 w 3369896"/>
                <a:gd name="connsiteY1" fmla="*/ 0 h 1569243"/>
                <a:gd name="connsiteX2" fmla="*/ 3369896 w 3369896"/>
                <a:gd name="connsiteY2" fmla="*/ 1569243 h 156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9896" h="1569243">
                  <a:moveTo>
                    <a:pt x="0" y="0"/>
                  </a:moveTo>
                  <a:lnTo>
                    <a:pt x="2638619" y="0"/>
                  </a:lnTo>
                  <a:lnTo>
                    <a:pt x="3369896" y="1569243"/>
                  </a:lnTo>
                  <a:close/>
                </a:path>
              </a:pathLst>
            </a:custGeom>
            <a:solidFill>
              <a:srgbClr val="8AC5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/>
            </a:p>
          </p:txBody>
        </p:sp>
        <p:sp>
          <p:nvSpPr>
            <p:cNvPr id="24" name="Freeform 35">
              <a:extLst>
                <a:ext uri="{FF2B5EF4-FFF2-40B4-BE49-F238E27FC236}">
                  <a16:creationId xmlns:a16="http://schemas.microsoft.com/office/drawing/2014/main" id="{17B1DBF2-4A23-4E11-BF69-602D78790FDD}"/>
                </a:ext>
              </a:extLst>
            </p:cNvPr>
            <p:cNvSpPr>
              <a:spLocks/>
            </p:cNvSpPr>
            <p:nvPr/>
          </p:nvSpPr>
          <p:spPr bwMode="ltGray">
            <a:xfrm>
              <a:off x="9696133" y="1"/>
              <a:ext cx="2495867" cy="2390792"/>
            </a:xfrm>
            <a:custGeom>
              <a:avLst/>
              <a:gdLst>
                <a:gd name="connsiteX0" fmla="*/ 0 w 2495867"/>
                <a:gd name="connsiteY0" fmla="*/ 0 h 2390792"/>
                <a:gd name="connsiteX1" fmla="*/ 2495867 w 2495867"/>
                <a:gd name="connsiteY1" fmla="*/ 0 h 2390792"/>
                <a:gd name="connsiteX2" fmla="*/ 2495867 w 2495867"/>
                <a:gd name="connsiteY2" fmla="*/ 2390792 h 2390792"/>
                <a:gd name="connsiteX3" fmla="*/ 731462 w 2495867"/>
                <a:gd name="connsiteY3" fmla="*/ 1569401 h 239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5867" h="2390792">
                  <a:moveTo>
                    <a:pt x="0" y="0"/>
                  </a:moveTo>
                  <a:lnTo>
                    <a:pt x="2495867" y="0"/>
                  </a:lnTo>
                  <a:lnTo>
                    <a:pt x="2495867" y="2390792"/>
                  </a:lnTo>
                  <a:lnTo>
                    <a:pt x="731462" y="1569401"/>
                  </a:lnTo>
                  <a:close/>
                </a:path>
              </a:pathLst>
            </a:custGeom>
            <a:solidFill>
              <a:srgbClr val="CEE5C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/>
            </a:p>
          </p:txBody>
        </p:sp>
      </p:grpSp>
      <p:pic>
        <p:nvPicPr>
          <p:cNvPr id="25" name="Picture 24">
            <a:extLst>
              <a:ext uri="{FF2B5EF4-FFF2-40B4-BE49-F238E27FC236}">
                <a16:creationId xmlns:a16="http://schemas.microsoft.com/office/drawing/2014/main" id="{21E4B8CD-8C13-4621-8127-1565EDA88619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 bwMode="ltGray">
          <a:xfrm>
            <a:off x="611441" y="542924"/>
            <a:ext cx="2688569" cy="841321"/>
          </a:xfrm>
          <a:prstGeom prst="rect">
            <a:avLst/>
          </a:prstGeom>
        </p:spPr>
      </p:pic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112F0FC-3EBB-4F50-B895-1F89E7AEBAF7}"/>
              </a:ext>
            </a:extLst>
          </p:cNvPr>
          <p:cNvCxnSpPr/>
          <p:nvPr userDrawn="1"/>
        </p:nvCxnSpPr>
        <p:spPr bwMode="ltGray">
          <a:xfrm>
            <a:off x="611441" y="6252508"/>
            <a:ext cx="5171091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</p:cxn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2561414"/>
            <a:ext cx="6760464" cy="1354217"/>
          </a:xfrm>
        </p:spPr>
        <p:txBody>
          <a:bodyPr vert="horz" anchor="b" anchorCtr="0">
            <a:noAutofit/>
          </a:bodyPr>
          <a:lstStyle>
            <a:lvl1pPr rtl="0"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29" name="Subtitle">
            <a:extLst>
              <a:ext uri="{FF2B5EF4-FFF2-40B4-BE49-F238E27FC236}">
                <a16:creationId xmlns:a16="http://schemas.microsoft.com/office/drawing/2014/main" id="{3BB216A9-7249-4DED-83E2-F9EA93C16100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1941" y="4024099"/>
            <a:ext cx="6760464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rtl="0">
              <a:defRPr lang="en-US" sz="20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5320573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94357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FC6334AE-8D78-4A76-A627-5E9B347EF0CE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41786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3466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5065776" cy="384721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192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05FD5F32-9469-4E0F-8535-8FE3B7C177A6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384504E-EA4A-4DD1-83C0-AC293FB7F9A2}"/>
              </a:ext>
            </a:extLst>
          </p:cNvPr>
          <p:cNvPicPr>
            <a:picLocks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3765952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6308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C56963FF-ADBA-477A-8328-4F16B44471E4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7889876-BA05-49A2-8294-D779E2868DC3}"/>
              </a:ext>
            </a:extLst>
          </p:cNvPr>
          <p:cNvPicPr>
            <a:picLocks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2643104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8080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E3100D14-C052-4024-9A78-A97D42DA4F4C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EE8D274-5DB4-4546-BC58-171503D534AA}"/>
              </a:ext>
            </a:extLst>
          </p:cNvPr>
          <p:cNvPicPr>
            <a:picLocks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7469089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6211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5065776" cy="384721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192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05FD5F32-9469-4E0F-8535-8FE3B7C177A6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384504E-EA4A-4DD1-83C0-AC293FB7F9A2}"/>
              </a:ext>
            </a:extLst>
          </p:cNvPr>
          <p:cNvPicPr>
            <a:picLocks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0655622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4913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384721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19250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477661"/>
            <a:ext cx="6967729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4169A25B-A5F4-4C97-8540-ED9CC98F969D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6CD6A66-48C6-4BD2-B9B9-41E1EE0976B5}"/>
              </a:ext>
            </a:extLst>
          </p:cNvPr>
          <p:cNvPicPr>
            <a:picLocks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9139732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4267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7918704" cy="384721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19250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u="none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 noProof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43CC0EF8-D168-4C66-AFFD-37DF3A91198C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05B57B7-BC67-458E-B7B0-A0429154B7BF}"/>
              </a:ext>
            </a:extLst>
          </p:cNvPr>
          <p:cNvPicPr>
            <a:picLocks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456113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40164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989512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856B0F7-D900-4CD7-9173-6BCAEC340F0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03A2897-8F59-42BD-B6DD-251E725B958D}"/>
              </a:ext>
            </a:extLst>
          </p:cNvPr>
          <p:cNvPicPr>
            <a:picLocks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357F0324-A612-4AAB-9DC4-C7A748AF3DB1}"/>
              </a:ext>
            </a:extLst>
          </p:cNvPr>
          <p:cNvGrpSpPr/>
          <p:nvPr userDrawn="1"/>
        </p:nvGrpSpPr>
        <p:grpSpPr>
          <a:xfrm>
            <a:off x="554736" y="6368464"/>
            <a:ext cx="11082528" cy="54693"/>
            <a:chOff x="554736" y="6349068"/>
            <a:chExt cx="11082528" cy="54693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198DE8D2-0E24-4923-8389-7500828D14BF}"/>
                </a:ext>
              </a:extLst>
            </p:cNvPr>
            <p:cNvCxnSpPr/>
            <p:nvPr userDrawn="1"/>
          </p:nvCxnSpPr>
          <p:spPr bwMode="ltGray">
            <a:xfrm flipV="1">
              <a:off x="554741" y="6349072"/>
              <a:ext cx="11082523" cy="17939"/>
            </a:xfrm>
            <a:prstGeom prst="line">
              <a:avLst/>
            </a:prstGeom>
            <a:noFill/>
            <a:ln w="6350" cap="flat" cmpd="sng" algn="ctr">
              <a:solidFill>
                <a:srgbClr val="A5A5A5"/>
              </a:solidFill>
              <a:prstDash val="solid"/>
              <a:miter lim="800000"/>
            </a:ln>
            <a:effectLst/>
          </p:spPr>
        </p:cxn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273C7CF2-784C-4329-9D05-25ECFF334BBF}"/>
                </a:ext>
              </a:extLst>
            </p:cNvPr>
            <p:cNvSpPr/>
            <p:nvPr userDrawn="1"/>
          </p:nvSpPr>
          <p:spPr bwMode="ltGray">
            <a:xfrm>
              <a:off x="554736" y="6358042"/>
              <a:ext cx="2797733" cy="45719"/>
            </a:xfrm>
            <a:prstGeom prst="rect">
              <a:avLst/>
            </a:prstGeom>
            <a:solidFill>
              <a:srgbClr val="000000">
                <a:lumMod val="65000"/>
                <a:lumOff val="3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5909122C-351C-4F9A-98FA-AB182939F686}"/>
                </a:ext>
              </a:extLst>
            </p:cNvPr>
            <p:cNvSpPr/>
            <p:nvPr userDrawn="1"/>
          </p:nvSpPr>
          <p:spPr bwMode="ltGray">
            <a:xfrm>
              <a:off x="10671243" y="6349068"/>
              <a:ext cx="966017" cy="54688"/>
            </a:xfrm>
            <a:prstGeom prst="rect">
              <a:avLst/>
            </a:prstGeom>
            <a:solidFill>
              <a:srgbClr val="000000">
                <a:lumMod val="65000"/>
                <a:lumOff val="3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7914760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5604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6" y="64776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B185D4E6-1D08-404B-9627-E173C227EB7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9522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674580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3344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87C41EC-7993-4253-98D7-CA91944B2598}"/>
              </a:ext>
            </a:extLst>
          </p:cNvPr>
          <p:cNvPicPr>
            <a:picLocks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2598057" y="3103027"/>
            <a:ext cx="6995886" cy="651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70342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tags" Target="../tags/tag8.xml"/><Relationship Id="rId39" Type="http://schemas.openxmlformats.org/officeDocument/2006/relationships/oleObject" Target="../embeddings/oleObject1.bin"/><Relationship Id="rId21" Type="http://schemas.openxmlformats.org/officeDocument/2006/relationships/tags" Target="../tags/tag3.xml"/><Relationship Id="rId34" Type="http://schemas.openxmlformats.org/officeDocument/2006/relationships/tags" Target="../tags/tag16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29" Type="http://schemas.openxmlformats.org/officeDocument/2006/relationships/tags" Target="../tags/tag11.xml"/><Relationship Id="rId41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6.xml"/><Relationship Id="rId32" Type="http://schemas.openxmlformats.org/officeDocument/2006/relationships/tags" Target="../tags/tag14.xml"/><Relationship Id="rId37" Type="http://schemas.openxmlformats.org/officeDocument/2006/relationships/tags" Target="../tags/tag19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28" Type="http://schemas.openxmlformats.org/officeDocument/2006/relationships/tags" Target="../tags/tag10.xml"/><Relationship Id="rId36" Type="http://schemas.openxmlformats.org/officeDocument/2006/relationships/tags" Target="../tags/tag18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31" Type="http://schemas.openxmlformats.org/officeDocument/2006/relationships/tags" Target="../tags/tag1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Relationship Id="rId27" Type="http://schemas.openxmlformats.org/officeDocument/2006/relationships/tags" Target="../tags/tag9.xml"/><Relationship Id="rId30" Type="http://schemas.openxmlformats.org/officeDocument/2006/relationships/tags" Target="../tags/tag12.xml"/><Relationship Id="rId35" Type="http://schemas.openxmlformats.org/officeDocument/2006/relationships/tags" Target="../tags/tag17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7.xml"/><Relationship Id="rId33" Type="http://schemas.openxmlformats.org/officeDocument/2006/relationships/tags" Target="../tags/tag15.xml"/><Relationship Id="rId38" Type="http://schemas.openxmlformats.org/officeDocument/2006/relationships/tags" Target="../tags/tag20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0.xml"/><Relationship Id="rId18" Type="http://schemas.openxmlformats.org/officeDocument/2006/relationships/slideLayout" Target="../slideLayouts/slideLayout35.xml"/><Relationship Id="rId26" Type="http://schemas.openxmlformats.org/officeDocument/2006/relationships/tags" Target="../tags/tag130.xml"/><Relationship Id="rId39" Type="http://schemas.openxmlformats.org/officeDocument/2006/relationships/tags" Target="../tags/tag143.xml"/><Relationship Id="rId21" Type="http://schemas.openxmlformats.org/officeDocument/2006/relationships/slideLayout" Target="../slideLayouts/slideLayout38.xml"/><Relationship Id="rId34" Type="http://schemas.openxmlformats.org/officeDocument/2006/relationships/tags" Target="../tags/tag138.xml"/><Relationship Id="rId42" Type="http://schemas.openxmlformats.org/officeDocument/2006/relationships/tags" Target="../tags/tag146.xml"/><Relationship Id="rId47" Type="http://schemas.openxmlformats.org/officeDocument/2006/relationships/image" Target="../media/image2.emf"/><Relationship Id="rId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9" Type="http://schemas.openxmlformats.org/officeDocument/2006/relationships/tags" Target="../tags/tag133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24" Type="http://schemas.openxmlformats.org/officeDocument/2006/relationships/tags" Target="../tags/tag128.xml"/><Relationship Id="rId32" Type="http://schemas.openxmlformats.org/officeDocument/2006/relationships/tags" Target="../tags/tag136.xml"/><Relationship Id="rId37" Type="http://schemas.openxmlformats.org/officeDocument/2006/relationships/tags" Target="../tags/tag141.xml"/><Relationship Id="rId40" Type="http://schemas.openxmlformats.org/officeDocument/2006/relationships/tags" Target="../tags/tag144.xml"/><Relationship Id="rId45" Type="http://schemas.openxmlformats.org/officeDocument/2006/relationships/oleObject" Target="../embeddings/oleObject18.bin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23" Type="http://schemas.openxmlformats.org/officeDocument/2006/relationships/theme" Target="../theme/theme2.xml"/><Relationship Id="rId28" Type="http://schemas.openxmlformats.org/officeDocument/2006/relationships/tags" Target="../tags/tag132.xml"/><Relationship Id="rId36" Type="http://schemas.openxmlformats.org/officeDocument/2006/relationships/tags" Target="../tags/tag140.xml"/><Relationship Id="rId10" Type="http://schemas.openxmlformats.org/officeDocument/2006/relationships/slideLayout" Target="../slideLayouts/slideLayout27.xml"/><Relationship Id="rId19" Type="http://schemas.openxmlformats.org/officeDocument/2006/relationships/slideLayout" Target="../slideLayouts/slideLayout36.xml"/><Relationship Id="rId31" Type="http://schemas.openxmlformats.org/officeDocument/2006/relationships/tags" Target="../tags/tag135.xml"/><Relationship Id="rId44" Type="http://schemas.openxmlformats.org/officeDocument/2006/relationships/tags" Target="../tags/tag148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Relationship Id="rId22" Type="http://schemas.openxmlformats.org/officeDocument/2006/relationships/slideLayout" Target="../slideLayouts/slideLayout39.xml"/><Relationship Id="rId27" Type="http://schemas.openxmlformats.org/officeDocument/2006/relationships/tags" Target="../tags/tag131.xml"/><Relationship Id="rId30" Type="http://schemas.openxmlformats.org/officeDocument/2006/relationships/tags" Target="../tags/tag134.xml"/><Relationship Id="rId35" Type="http://schemas.openxmlformats.org/officeDocument/2006/relationships/tags" Target="../tags/tag139.xml"/><Relationship Id="rId43" Type="http://schemas.openxmlformats.org/officeDocument/2006/relationships/tags" Target="../tags/tag147.xml"/><Relationship Id="rId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5" Type="http://schemas.openxmlformats.org/officeDocument/2006/relationships/tags" Target="../tags/tag129.xml"/><Relationship Id="rId33" Type="http://schemas.openxmlformats.org/officeDocument/2006/relationships/tags" Target="../tags/tag137.xml"/><Relationship Id="rId38" Type="http://schemas.openxmlformats.org/officeDocument/2006/relationships/tags" Target="../tags/tag142.xml"/><Relationship Id="rId46" Type="http://schemas.openxmlformats.org/officeDocument/2006/relationships/image" Target="../media/image3.emf"/><Relationship Id="rId20" Type="http://schemas.openxmlformats.org/officeDocument/2006/relationships/slideLayout" Target="../slideLayouts/slideLayout37.xml"/><Relationship Id="rId41" Type="http://schemas.openxmlformats.org/officeDocument/2006/relationships/tags" Target="../tags/tag145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2.xml"/><Relationship Id="rId18" Type="http://schemas.openxmlformats.org/officeDocument/2006/relationships/tags" Target="../tags/tag275.xml"/><Relationship Id="rId26" Type="http://schemas.openxmlformats.org/officeDocument/2006/relationships/tags" Target="../tags/tag283.xml"/><Relationship Id="rId3" Type="http://schemas.openxmlformats.org/officeDocument/2006/relationships/slideLayout" Target="../slideLayouts/slideLayout42.xml"/><Relationship Id="rId21" Type="http://schemas.openxmlformats.org/officeDocument/2006/relationships/tags" Target="../tags/tag278.xml"/><Relationship Id="rId34" Type="http://schemas.openxmlformats.org/officeDocument/2006/relationships/image" Target="../media/image9.emf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tags" Target="../tags/tag274.xml"/><Relationship Id="rId25" Type="http://schemas.openxmlformats.org/officeDocument/2006/relationships/tags" Target="../tags/tag282.xml"/><Relationship Id="rId33" Type="http://schemas.openxmlformats.org/officeDocument/2006/relationships/oleObject" Target="../embeddings/oleObject37.bin"/><Relationship Id="rId2" Type="http://schemas.openxmlformats.org/officeDocument/2006/relationships/slideLayout" Target="../slideLayouts/slideLayout41.xml"/><Relationship Id="rId16" Type="http://schemas.openxmlformats.org/officeDocument/2006/relationships/tags" Target="../tags/tag273.xml"/><Relationship Id="rId20" Type="http://schemas.openxmlformats.org/officeDocument/2006/relationships/tags" Target="../tags/tag277.xml"/><Relationship Id="rId29" Type="http://schemas.openxmlformats.org/officeDocument/2006/relationships/tags" Target="../tags/tag286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24" Type="http://schemas.openxmlformats.org/officeDocument/2006/relationships/tags" Target="../tags/tag281.xml"/><Relationship Id="rId32" Type="http://schemas.openxmlformats.org/officeDocument/2006/relationships/tags" Target="../tags/tag289.xml"/><Relationship Id="rId5" Type="http://schemas.openxmlformats.org/officeDocument/2006/relationships/slideLayout" Target="../slideLayouts/slideLayout44.xml"/><Relationship Id="rId15" Type="http://schemas.openxmlformats.org/officeDocument/2006/relationships/theme" Target="../theme/theme3.xml"/><Relationship Id="rId23" Type="http://schemas.openxmlformats.org/officeDocument/2006/relationships/tags" Target="../tags/tag280.xml"/><Relationship Id="rId28" Type="http://schemas.openxmlformats.org/officeDocument/2006/relationships/tags" Target="../tags/tag285.xml"/><Relationship Id="rId10" Type="http://schemas.openxmlformats.org/officeDocument/2006/relationships/slideLayout" Target="../slideLayouts/slideLayout49.xml"/><Relationship Id="rId19" Type="http://schemas.openxmlformats.org/officeDocument/2006/relationships/tags" Target="../tags/tag276.xml"/><Relationship Id="rId31" Type="http://schemas.openxmlformats.org/officeDocument/2006/relationships/tags" Target="../tags/tag288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Relationship Id="rId22" Type="http://schemas.openxmlformats.org/officeDocument/2006/relationships/tags" Target="../tags/tag279.xml"/><Relationship Id="rId27" Type="http://schemas.openxmlformats.org/officeDocument/2006/relationships/tags" Target="../tags/tag284.xml"/><Relationship Id="rId30" Type="http://schemas.openxmlformats.org/officeDocument/2006/relationships/tags" Target="../tags/tag287.xml"/><Relationship Id="rId35" Type="http://schemas.openxmlformats.org/officeDocument/2006/relationships/image" Target="../media/image2.emf"/><Relationship Id="rId8" Type="http://schemas.openxmlformats.org/officeDocument/2006/relationships/slideLayout" Target="../slideLayouts/slideLayout4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tags" Target="../tags/tag327.xml"/><Relationship Id="rId18" Type="http://schemas.openxmlformats.org/officeDocument/2006/relationships/tags" Target="../tags/tag332.xml"/><Relationship Id="rId26" Type="http://schemas.openxmlformats.org/officeDocument/2006/relationships/tags" Target="../tags/tag340.xml"/><Relationship Id="rId3" Type="http://schemas.openxmlformats.org/officeDocument/2006/relationships/slideLayout" Target="../slideLayouts/slideLayout56.xml"/><Relationship Id="rId21" Type="http://schemas.openxmlformats.org/officeDocument/2006/relationships/tags" Target="../tags/tag335.xml"/><Relationship Id="rId7" Type="http://schemas.openxmlformats.org/officeDocument/2006/relationships/slideLayout" Target="../slideLayouts/slideLayout60.xml"/><Relationship Id="rId12" Type="http://schemas.openxmlformats.org/officeDocument/2006/relationships/tags" Target="../tags/tag326.xml"/><Relationship Id="rId17" Type="http://schemas.openxmlformats.org/officeDocument/2006/relationships/tags" Target="../tags/tag331.xml"/><Relationship Id="rId25" Type="http://schemas.openxmlformats.org/officeDocument/2006/relationships/tags" Target="../tags/tag339.xml"/><Relationship Id="rId2" Type="http://schemas.openxmlformats.org/officeDocument/2006/relationships/slideLayout" Target="../slideLayouts/slideLayout55.xml"/><Relationship Id="rId16" Type="http://schemas.openxmlformats.org/officeDocument/2006/relationships/tags" Target="../tags/tag330.xml"/><Relationship Id="rId20" Type="http://schemas.openxmlformats.org/officeDocument/2006/relationships/tags" Target="../tags/tag334.xml"/><Relationship Id="rId29" Type="http://schemas.openxmlformats.org/officeDocument/2006/relationships/image" Target="../media/image2.emf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tags" Target="../tags/tag325.xml"/><Relationship Id="rId24" Type="http://schemas.openxmlformats.org/officeDocument/2006/relationships/tags" Target="../tags/tag338.xml"/><Relationship Id="rId5" Type="http://schemas.openxmlformats.org/officeDocument/2006/relationships/slideLayout" Target="../slideLayouts/slideLayout58.xml"/><Relationship Id="rId15" Type="http://schemas.openxmlformats.org/officeDocument/2006/relationships/tags" Target="../tags/tag329.xml"/><Relationship Id="rId23" Type="http://schemas.openxmlformats.org/officeDocument/2006/relationships/tags" Target="../tags/tag337.xml"/><Relationship Id="rId28" Type="http://schemas.openxmlformats.org/officeDocument/2006/relationships/image" Target="../media/image9.emf"/><Relationship Id="rId10" Type="http://schemas.openxmlformats.org/officeDocument/2006/relationships/tags" Target="../tags/tag324.xml"/><Relationship Id="rId19" Type="http://schemas.openxmlformats.org/officeDocument/2006/relationships/tags" Target="../tags/tag333.xml"/><Relationship Id="rId4" Type="http://schemas.openxmlformats.org/officeDocument/2006/relationships/slideLayout" Target="../slideLayouts/slideLayout57.xml"/><Relationship Id="rId9" Type="http://schemas.openxmlformats.org/officeDocument/2006/relationships/theme" Target="../theme/theme4.xml"/><Relationship Id="rId14" Type="http://schemas.openxmlformats.org/officeDocument/2006/relationships/tags" Target="../tags/tag328.xml"/><Relationship Id="rId22" Type="http://schemas.openxmlformats.org/officeDocument/2006/relationships/tags" Target="../tags/tag336.xml"/><Relationship Id="rId27" Type="http://schemas.openxmlformats.org/officeDocument/2006/relationships/oleObject" Target="../embeddings/oleObject46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359.xml"/><Relationship Id="rId13" Type="http://schemas.openxmlformats.org/officeDocument/2006/relationships/tags" Target="../tags/tag364.xml"/><Relationship Id="rId18" Type="http://schemas.openxmlformats.org/officeDocument/2006/relationships/tags" Target="../tags/tag369.xml"/><Relationship Id="rId3" Type="http://schemas.openxmlformats.org/officeDocument/2006/relationships/slideLayout" Target="../slideLayouts/slideLayout64.xml"/><Relationship Id="rId21" Type="http://schemas.openxmlformats.org/officeDocument/2006/relationships/tags" Target="../tags/tag372.xml"/><Relationship Id="rId7" Type="http://schemas.openxmlformats.org/officeDocument/2006/relationships/tags" Target="../tags/tag358.xml"/><Relationship Id="rId12" Type="http://schemas.openxmlformats.org/officeDocument/2006/relationships/tags" Target="../tags/tag363.xml"/><Relationship Id="rId17" Type="http://schemas.openxmlformats.org/officeDocument/2006/relationships/tags" Target="../tags/tag368.xml"/><Relationship Id="rId25" Type="http://schemas.openxmlformats.org/officeDocument/2006/relationships/image" Target="../media/image2.emf"/><Relationship Id="rId2" Type="http://schemas.openxmlformats.org/officeDocument/2006/relationships/slideLayout" Target="../slideLayouts/slideLayout63.xml"/><Relationship Id="rId16" Type="http://schemas.openxmlformats.org/officeDocument/2006/relationships/tags" Target="../tags/tag367.xml"/><Relationship Id="rId20" Type="http://schemas.openxmlformats.org/officeDocument/2006/relationships/tags" Target="../tags/tag371.xml"/><Relationship Id="rId1" Type="http://schemas.openxmlformats.org/officeDocument/2006/relationships/slideLayout" Target="../slideLayouts/slideLayout62.xml"/><Relationship Id="rId6" Type="http://schemas.openxmlformats.org/officeDocument/2006/relationships/tags" Target="../tags/tag357.xml"/><Relationship Id="rId11" Type="http://schemas.openxmlformats.org/officeDocument/2006/relationships/tags" Target="../tags/tag362.xml"/><Relationship Id="rId24" Type="http://schemas.openxmlformats.org/officeDocument/2006/relationships/image" Target="../media/image9.emf"/><Relationship Id="rId5" Type="http://schemas.openxmlformats.org/officeDocument/2006/relationships/theme" Target="../theme/theme5.xml"/><Relationship Id="rId15" Type="http://schemas.openxmlformats.org/officeDocument/2006/relationships/tags" Target="../tags/tag366.xml"/><Relationship Id="rId23" Type="http://schemas.openxmlformats.org/officeDocument/2006/relationships/oleObject" Target="../embeddings/oleObject50.bin"/><Relationship Id="rId10" Type="http://schemas.openxmlformats.org/officeDocument/2006/relationships/tags" Target="../tags/tag361.xml"/><Relationship Id="rId19" Type="http://schemas.openxmlformats.org/officeDocument/2006/relationships/tags" Target="../tags/tag370.xml"/><Relationship Id="rId4" Type="http://schemas.openxmlformats.org/officeDocument/2006/relationships/slideLayout" Target="../slideLayouts/slideLayout65.xml"/><Relationship Id="rId9" Type="http://schemas.openxmlformats.org/officeDocument/2006/relationships/tags" Target="../tags/tag360.xml"/><Relationship Id="rId14" Type="http://schemas.openxmlformats.org/officeDocument/2006/relationships/tags" Target="../tags/tag365.xml"/><Relationship Id="rId22" Type="http://schemas.openxmlformats.org/officeDocument/2006/relationships/tags" Target="../tags/tag37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3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2.xml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image" Target="../media/image14.emf"/><Relationship Id="rId5" Type="http://schemas.openxmlformats.org/officeDocument/2006/relationships/slideLayout" Target="../slideLayouts/slideLayout70.xml"/><Relationship Id="rId10" Type="http://schemas.openxmlformats.org/officeDocument/2006/relationships/oleObject" Target="../embeddings/oleObject54.bin"/><Relationship Id="rId4" Type="http://schemas.openxmlformats.org/officeDocument/2006/relationships/slideLayout" Target="../slideLayouts/slideLayout69.xml"/><Relationship Id="rId9" Type="http://schemas.openxmlformats.org/officeDocument/2006/relationships/tags" Target="../tags/tag37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393.xml"/><Relationship Id="rId13" Type="http://schemas.openxmlformats.org/officeDocument/2006/relationships/tags" Target="../tags/tag398.xml"/><Relationship Id="rId18" Type="http://schemas.openxmlformats.org/officeDocument/2006/relationships/tags" Target="../tags/tag403.xml"/><Relationship Id="rId26" Type="http://schemas.openxmlformats.org/officeDocument/2006/relationships/image" Target="../media/image2.emf"/><Relationship Id="rId3" Type="http://schemas.openxmlformats.org/officeDocument/2006/relationships/slideLayout" Target="../slideLayouts/slideLayout75.xml"/><Relationship Id="rId21" Type="http://schemas.openxmlformats.org/officeDocument/2006/relationships/tags" Target="../tags/tag406.xml"/><Relationship Id="rId7" Type="http://schemas.openxmlformats.org/officeDocument/2006/relationships/tags" Target="../tags/tag392.xml"/><Relationship Id="rId12" Type="http://schemas.openxmlformats.org/officeDocument/2006/relationships/tags" Target="../tags/tag397.xml"/><Relationship Id="rId17" Type="http://schemas.openxmlformats.org/officeDocument/2006/relationships/tags" Target="../tags/tag402.xml"/><Relationship Id="rId25" Type="http://schemas.openxmlformats.org/officeDocument/2006/relationships/image" Target="../media/image9.emf"/><Relationship Id="rId2" Type="http://schemas.openxmlformats.org/officeDocument/2006/relationships/slideLayout" Target="../slideLayouts/slideLayout74.xml"/><Relationship Id="rId16" Type="http://schemas.openxmlformats.org/officeDocument/2006/relationships/tags" Target="../tags/tag401.xml"/><Relationship Id="rId20" Type="http://schemas.openxmlformats.org/officeDocument/2006/relationships/tags" Target="../tags/tag405.xml"/><Relationship Id="rId1" Type="http://schemas.openxmlformats.org/officeDocument/2006/relationships/slideLayout" Target="../slideLayouts/slideLayout73.xml"/><Relationship Id="rId6" Type="http://schemas.openxmlformats.org/officeDocument/2006/relationships/theme" Target="../theme/theme7.xml"/><Relationship Id="rId11" Type="http://schemas.openxmlformats.org/officeDocument/2006/relationships/tags" Target="../tags/tag396.xml"/><Relationship Id="rId24" Type="http://schemas.openxmlformats.org/officeDocument/2006/relationships/oleObject" Target="../embeddings/oleObject56.bin"/><Relationship Id="rId5" Type="http://schemas.openxmlformats.org/officeDocument/2006/relationships/slideLayout" Target="../slideLayouts/slideLayout77.xml"/><Relationship Id="rId15" Type="http://schemas.openxmlformats.org/officeDocument/2006/relationships/tags" Target="../tags/tag400.xml"/><Relationship Id="rId23" Type="http://schemas.openxmlformats.org/officeDocument/2006/relationships/tags" Target="../tags/tag408.xml"/><Relationship Id="rId10" Type="http://schemas.openxmlformats.org/officeDocument/2006/relationships/tags" Target="../tags/tag395.xml"/><Relationship Id="rId19" Type="http://schemas.openxmlformats.org/officeDocument/2006/relationships/tags" Target="../tags/tag404.xml"/><Relationship Id="rId4" Type="http://schemas.openxmlformats.org/officeDocument/2006/relationships/slideLayout" Target="../slideLayouts/slideLayout76.xml"/><Relationship Id="rId9" Type="http://schemas.openxmlformats.org/officeDocument/2006/relationships/tags" Target="../tags/tag394.xml"/><Relationship Id="rId14" Type="http://schemas.openxmlformats.org/officeDocument/2006/relationships/tags" Target="../tags/tag399.xml"/><Relationship Id="rId22" Type="http://schemas.openxmlformats.org/officeDocument/2006/relationships/tags" Target="../tags/tag40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415.xml"/><Relationship Id="rId13" Type="http://schemas.openxmlformats.org/officeDocument/2006/relationships/tags" Target="../tags/tag420.xml"/><Relationship Id="rId18" Type="http://schemas.openxmlformats.org/officeDocument/2006/relationships/tags" Target="../tags/tag425.xml"/><Relationship Id="rId26" Type="http://schemas.openxmlformats.org/officeDocument/2006/relationships/image" Target="../media/image9.emf"/><Relationship Id="rId3" Type="http://schemas.openxmlformats.org/officeDocument/2006/relationships/slideLayout" Target="../slideLayouts/slideLayout80.xml"/><Relationship Id="rId21" Type="http://schemas.openxmlformats.org/officeDocument/2006/relationships/tags" Target="../tags/tag428.xml"/><Relationship Id="rId7" Type="http://schemas.openxmlformats.org/officeDocument/2006/relationships/theme" Target="../theme/theme8.xml"/><Relationship Id="rId12" Type="http://schemas.openxmlformats.org/officeDocument/2006/relationships/tags" Target="../tags/tag419.xml"/><Relationship Id="rId17" Type="http://schemas.openxmlformats.org/officeDocument/2006/relationships/tags" Target="../tags/tag424.xml"/><Relationship Id="rId25" Type="http://schemas.openxmlformats.org/officeDocument/2006/relationships/oleObject" Target="../embeddings/oleObject61.bin"/><Relationship Id="rId2" Type="http://schemas.openxmlformats.org/officeDocument/2006/relationships/slideLayout" Target="../slideLayouts/slideLayout79.xml"/><Relationship Id="rId16" Type="http://schemas.openxmlformats.org/officeDocument/2006/relationships/tags" Target="../tags/tag423.xml"/><Relationship Id="rId20" Type="http://schemas.openxmlformats.org/officeDocument/2006/relationships/tags" Target="../tags/tag427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tags" Target="../tags/tag418.xml"/><Relationship Id="rId24" Type="http://schemas.openxmlformats.org/officeDocument/2006/relationships/tags" Target="../tags/tag431.xml"/><Relationship Id="rId5" Type="http://schemas.openxmlformats.org/officeDocument/2006/relationships/slideLayout" Target="../slideLayouts/slideLayout82.xml"/><Relationship Id="rId15" Type="http://schemas.openxmlformats.org/officeDocument/2006/relationships/tags" Target="../tags/tag422.xml"/><Relationship Id="rId23" Type="http://schemas.openxmlformats.org/officeDocument/2006/relationships/tags" Target="../tags/tag430.xml"/><Relationship Id="rId10" Type="http://schemas.openxmlformats.org/officeDocument/2006/relationships/tags" Target="../tags/tag417.xml"/><Relationship Id="rId19" Type="http://schemas.openxmlformats.org/officeDocument/2006/relationships/tags" Target="../tags/tag426.xml"/><Relationship Id="rId4" Type="http://schemas.openxmlformats.org/officeDocument/2006/relationships/slideLayout" Target="../slideLayouts/slideLayout81.xml"/><Relationship Id="rId9" Type="http://schemas.openxmlformats.org/officeDocument/2006/relationships/tags" Target="../tags/tag416.xml"/><Relationship Id="rId14" Type="http://schemas.openxmlformats.org/officeDocument/2006/relationships/tags" Target="../tags/tag421.xml"/><Relationship Id="rId22" Type="http://schemas.openxmlformats.org/officeDocument/2006/relationships/tags" Target="../tags/tag429.xml"/><Relationship Id="rId27" Type="http://schemas.openxmlformats.org/officeDocument/2006/relationships/image" Target="../media/image2.emf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6.xml"/><Relationship Id="rId18" Type="http://schemas.openxmlformats.org/officeDocument/2006/relationships/tags" Target="../tags/tag440.xml"/><Relationship Id="rId26" Type="http://schemas.openxmlformats.org/officeDocument/2006/relationships/tags" Target="../tags/tag448.xml"/><Relationship Id="rId21" Type="http://schemas.openxmlformats.org/officeDocument/2006/relationships/tags" Target="../tags/tag443.xml"/><Relationship Id="rId34" Type="http://schemas.openxmlformats.org/officeDocument/2006/relationships/tags" Target="../tags/tag456.xml"/><Relationship Id="rId7" Type="http://schemas.openxmlformats.org/officeDocument/2006/relationships/slideLayout" Target="../slideLayouts/slideLayout90.xml"/><Relationship Id="rId12" Type="http://schemas.openxmlformats.org/officeDocument/2006/relationships/slideLayout" Target="../slideLayouts/slideLayout95.xml"/><Relationship Id="rId17" Type="http://schemas.openxmlformats.org/officeDocument/2006/relationships/tags" Target="../tags/tag439.xml"/><Relationship Id="rId25" Type="http://schemas.openxmlformats.org/officeDocument/2006/relationships/tags" Target="../tags/tag447.xml"/><Relationship Id="rId33" Type="http://schemas.openxmlformats.org/officeDocument/2006/relationships/tags" Target="../tags/tag455.xml"/><Relationship Id="rId38" Type="http://schemas.openxmlformats.org/officeDocument/2006/relationships/image" Target="../media/image2.emf"/><Relationship Id="rId2" Type="http://schemas.openxmlformats.org/officeDocument/2006/relationships/slideLayout" Target="../slideLayouts/slideLayout85.xml"/><Relationship Id="rId16" Type="http://schemas.openxmlformats.org/officeDocument/2006/relationships/tags" Target="../tags/tag438.xml"/><Relationship Id="rId20" Type="http://schemas.openxmlformats.org/officeDocument/2006/relationships/tags" Target="../tags/tag442.xml"/><Relationship Id="rId29" Type="http://schemas.openxmlformats.org/officeDocument/2006/relationships/tags" Target="../tags/tag451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24" Type="http://schemas.openxmlformats.org/officeDocument/2006/relationships/tags" Target="../tags/tag446.xml"/><Relationship Id="rId32" Type="http://schemas.openxmlformats.org/officeDocument/2006/relationships/tags" Target="../tags/tag454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88.xml"/><Relationship Id="rId15" Type="http://schemas.openxmlformats.org/officeDocument/2006/relationships/theme" Target="../theme/theme9.xml"/><Relationship Id="rId23" Type="http://schemas.openxmlformats.org/officeDocument/2006/relationships/tags" Target="../tags/tag445.xml"/><Relationship Id="rId28" Type="http://schemas.openxmlformats.org/officeDocument/2006/relationships/tags" Target="../tags/tag450.xml"/><Relationship Id="rId36" Type="http://schemas.openxmlformats.org/officeDocument/2006/relationships/oleObject" Target="../embeddings/oleObject66.bin"/><Relationship Id="rId10" Type="http://schemas.openxmlformats.org/officeDocument/2006/relationships/slideLayout" Target="../slideLayouts/slideLayout93.xml"/><Relationship Id="rId19" Type="http://schemas.openxmlformats.org/officeDocument/2006/relationships/tags" Target="../tags/tag441.xml"/><Relationship Id="rId31" Type="http://schemas.openxmlformats.org/officeDocument/2006/relationships/tags" Target="../tags/tag453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4" Type="http://schemas.openxmlformats.org/officeDocument/2006/relationships/slideLayout" Target="../slideLayouts/slideLayout97.xml"/><Relationship Id="rId22" Type="http://schemas.openxmlformats.org/officeDocument/2006/relationships/tags" Target="../tags/tag444.xml"/><Relationship Id="rId27" Type="http://schemas.openxmlformats.org/officeDocument/2006/relationships/tags" Target="../tags/tag449.xml"/><Relationship Id="rId30" Type="http://schemas.openxmlformats.org/officeDocument/2006/relationships/tags" Target="../tags/tag452.xml"/><Relationship Id="rId35" Type="http://schemas.openxmlformats.org/officeDocument/2006/relationships/tags" Target="../tags/tag457.xml"/><Relationship Id="rId8" Type="http://schemas.openxmlformats.org/officeDocument/2006/relationships/slideLayout" Target="../slideLayouts/slideLayout91.xml"/><Relationship Id="rId3" Type="http://schemas.openxmlformats.org/officeDocument/2006/relationships/slideLayout" Target="../slideLayouts/slideLayout8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3203702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9" imgW="413" imgH="416" progId="TCLayout.ActiveDocument.1">
                  <p:embed/>
                </p:oleObj>
              </mc:Choice>
              <mc:Fallback>
                <p:oleObj name="think-cell Slide" r:id="rId3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553972" y="6190849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/>
        </p:nvSpPr>
        <p:spPr>
          <a:xfrm>
            <a:off x="554736" y="1198743"/>
            <a:ext cx="344646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 lvl="0"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>
            <p:custDataLst>
              <p:tags r:id="rId23"/>
            </p:custDataLst>
          </p:nvPr>
        </p:nvSpPr>
        <p:spPr>
          <a:xfrm>
            <a:off x="5987738" y="2170800"/>
            <a:ext cx="3049253" cy="49244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Above Chart Exhibit Title</a:t>
            </a:r>
            <a:br>
              <a:rPr lang="en-US"/>
            </a:br>
            <a:r>
              <a:rPr lang="en-US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 flipH="1">
            <a:off x="554736" y="1646241"/>
            <a:ext cx="4762018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54" name="LegendLines" hidden="1">
            <a:extLst>
              <a:ext uri="{FF2B5EF4-FFF2-40B4-BE49-F238E27FC236}">
                <a16:creationId xmlns:a16="http://schemas.microsoft.com/office/drawing/2014/main" id="{E5A3A058-6B69-4312-AF71-61B1CC1967FA}"/>
              </a:ext>
            </a:extLst>
          </p:cNvPr>
          <p:cNvGrpSpPr/>
          <p:nvPr/>
        </p:nvGrpSpPr>
        <p:grpSpPr>
          <a:xfrm>
            <a:off x="10398782" y="3150223"/>
            <a:ext cx="1251160" cy="958286"/>
            <a:chOff x="10162879" y="3243772"/>
            <a:chExt cx="1251160" cy="958286"/>
          </a:xfrm>
        </p:grpSpPr>
        <p:sp>
          <p:nvSpPr>
            <p:cNvPr id="155" name="Legend1" hidden="1">
              <a:extLst>
                <a:ext uri="{FF2B5EF4-FFF2-40B4-BE49-F238E27FC236}">
                  <a16:creationId xmlns:a16="http://schemas.microsoft.com/office/drawing/2014/main" id="{B1483347-D2CB-45E0-9695-BBA35B33DCFC}"/>
                </a:ext>
              </a:extLst>
            </p:cNvPr>
            <p:cNvSpPr txBox="1"/>
            <p:nvPr/>
          </p:nvSpPr>
          <p:spPr>
            <a:xfrm>
              <a:off x="10886522" y="324377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6" name="Legend2" hidden="1">
              <a:extLst>
                <a:ext uri="{FF2B5EF4-FFF2-40B4-BE49-F238E27FC236}">
                  <a16:creationId xmlns:a16="http://schemas.microsoft.com/office/drawing/2014/main" id="{74639385-1E48-4018-A994-9AC18FC989D1}"/>
                </a:ext>
              </a:extLst>
            </p:cNvPr>
            <p:cNvSpPr txBox="1"/>
            <p:nvPr/>
          </p:nvSpPr>
          <p:spPr>
            <a:xfrm>
              <a:off x="10886522" y="3615193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7" name="Legend3" hidden="1">
              <a:extLst>
                <a:ext uri="{FF2B5EF4-FFF2-40B4-BE49-F238E27FC236}">
                  <a16:creationId xmlns:a16="http://schemas.microsoft.com/office/drawing/2014/main" id="{7B527157-F5B7-4231-9280-9C00C99F750A}"/>
                </a:ext>
              </a:extLst>
            </p:cNvPr>
            <p:cNvSpPr txBox="1"/>
            <p:nvPr/>
          </p:nvSpPr>
          <p:spPr>
            <a:xfrm>
              <a:off x="10886522" y="398661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8" name="LineLegend3" hidden="1">
              <a:extLst>
                <a:ext uri="{FF2B5EF4-FFF2-40B4-BE49-F238E27FC236}">
                  <a16:creationId xmlns:a16="http://schemas.microsoft.com/office/drawing/2014/main" id="{CFC4A46B-4B4C-4E18-8C29-56ED1CA8C9F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59" name="LineLegend2" hidden="1">
              <a:extLst>
                <a:ext uri="{FF2B5EF4-FFF2-40B4-BE49-F238E27FC236}">
                  <a16:creationId xmlns:a16="http://schemas.microsoft.com/office/drawing/2014/main" id="{299E6BB7-7600-46F2-A0DA-ADCB38112B6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60" name="LineLegend1" hidden="1">
              <a:extLst>
                <a:ext uri="{FF2B5EF4-FFF2-40B4-BE49-F238E27FC236}">
                  <a16:creationId xmlns:a16="http://schemas.microsoft.com/office/drawing/2014/main" id="{3DAD72C9-4400-4CA3-91AC-3D74AFB20BC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ea typeface="+mn-ea"/>
              </a:endParaRPr>
            </a:p>
          </p:txBody>
        </p:sp>
      </p:grpSp>
      <p:grpSp>
        <p:nvGrpSpPr>
          <p:cNvPr id="161" name="LegendMoons" hidden="1">
            <a:extLst>
              <a:ext uri="{FF2B5EF4-FFF2-40B4-BE49-F238E27FC236}">
                <a16:creationId xmlns:a16="http://schemas.microsoft.com/office/drawing/2014/main" id="{B0D16645-DEE1-4F0A-B841-F0821AA8B01C}"/>
              </a:ext>
            </a:extLst>
          </p:cNvPr>
          <p:cNvGrpSpPr/>
          <p:nvPr/>
        </p:nvGrpSpPr>
        <p:grpSpPr>
          <a:xfrm>
            <a:off x="10769793" y="1145373"/>
            <a:ext cx="880149" cy="1731859"/>
            <a:chOff x="7723680" y="1702457"/>
            <a:chExt cx="880149" cy="1731859"/>
          </a:xfrm>
        </p:grpSpPr>
        <p:sp>
          <p:nvSpPr>
            <p:cNvPr id="162" name="Legend1" hidden="1">
              <a:extLst>
                <a:ext uri="{FF2B5EF4-FFF2-40B4-BE49-F238E27FC236}">
                  <a16:creationId xmlns:a16="http://schemas.microsoft.com/office/drawing/2014/main" id="{D5B6618B-0438-43C0-8BA2-9D42FD270E47}"/>
                </a:ext>
              </a:extLst>
            </p:cNvPr>
            <p:cNvSpPr txBox="1"/>
            <p:nvPr/>
          </p:nvSpPr>
          <p:spPr>
            <a:xfrm>
              <a:off x="8076312" y="1709816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3" name="Legend2" hidden="1">
              <a:extLst>
                <a:ext uri="{FF2B5EF4-FFF2-40B4-BE49-F238E27FC236}">
                  <a16:creationId xmlns:a16="http://schemas.microsoft.com/office/drawing/2014/main" id="{C6D9E259-1A28-4D00-BB3C-19F46D2232FD}"/>
                </a:ext>
              </a:extLst>
            </p:cNvPr>
            <p:cNvSpPr txBox="1"/>
            <p:nvPr/>
          </p:nvSpPr>
          <p:spPr>
            <a:xfrm>
              <a:off x="8076312" y="2085275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4" name="Legend3" hidden="1">
              <a:extLst>
                <a:ext uri="{FF2B5EF4-FFF2-40B4-BE49-F238E27FC236}">
                  <a16:creationId xmlns:a16="http://schemas.microsoft.com/office/drawing/2014/main" id="{3189FEC7-CC51-4CAE-A6C6-FEA94E439F34}"/>
                </a:ext>
              </a:extLst>
            </p:cNvPr>
            <p:cNvSpPr txBox="1"/>
            <p:nvPr/>
          </p:nvSpPr>
          <p:spPr>
            <a:xfrm>
              <a:off x="8076312" y="246073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5" name="Legend4" hidden="1">
              <a:extLst>
                <a:ext uri="{FF2B5EF4-FFF2-40B4-BE49-F238E27FC236}">
                  <a16:creationId xmlns:a16="http://schemas.microsoft.com/office/drawing/2014/main" id="{21BBB0F4-4F3A-484D-8E0B-EBB347B64AFE}"/>
                </a:ext>
              </a:extLst>
            </p:cNvPr>
            <p:cNvSpPr txBox="1"/>
            <p:nvPr/>
          </p:nvSpPr>
          <p:spPr>
            <a:xfrm>
              <a:off x="8076312" y="2836193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6" name="Legend5" hidden="1">
              <a:extLst>
                <a:ext uri="{FF2B5EF4-FFF2-40B4-BE49-F238E27FC236}">
                  <a16:creationId xmlns:a16="http://schemas.microsoft.com/office/drawing/2014/main" id="{771E2F80-1473-47C1-82BE-1713554C2FF5}"/>
                </a:ext>
              </a:extLst>
            </p:cNvPr>
            <p:cNvSpPr txBox="1"/>
            <p:nvPr/>
          </p:nvSpPr>
          <p:spPr>
            <a:xfrm>
              <a:off x="8076312" y="321165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167" name="MoonLegend1" hidden="1">
              <a:extLst>
                <a:ext uri="{FF2B5EF4-FFF2-40B4-BE49-F238E27FC236}">
                  <a16:creationId xmlns:a16="http://schemas.microsoft.com/office/drawing/2014/main" id="{257648F1-4AEE-48B7-AFF5-A8DEC1282986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91" name="Oval 190" hidden="1">
                <a:extLst>
                  <a:ext uri="{FF2B5EF4-FFF2-40B4-BE49-F238E27FC236}">
                    <a16:creationId xmlns:a16="http://schemas.microsoft.com/office/drawing/2014/main" id="{DE0AC04E-3843-461E-85BB-02189C02D0E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92" name="Arc 191" hidden="1">
                <a:extLst>
                  <a:ext uri="{FF2B5EF4-FFF2-40B4-BE49-F238E27FC236}">
                    <a16:creationId xmlns:a16="http://schemas.microsoft.com/office/drawing/2014/main" id="{E6456482-4CF3-4836-AD30-886DEF507226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68" name="MoonLegend2" hidden="1">
              <a:extLst>
                <a:ext uri="{FF2B5EF4-FFF2-40B4-BE49-F238E27FC236}">
                  <a16:creationId xmlns:a16="http://schemas.microsoft.com/office/drawing/2014/main" id="{F97812AB-8645-4B75-86C0-6BCF902FD82F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89" name="Oval 188" hidden="1">
                <a:extLst>
                  <a:ext uri="{FF2B5EF4-FFF2-40B4-BE49-F238E27FC236}">
                    <a16:creationId xmlns:a16="http://schemas.microsoft.com/office/drawing/2014/main" id="{8D1BABEF-D16B-415A-811D-7E8ACD1CF32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90" name="Arc 189" hidden="1">
                <a:extLst>
                  <a:ext uri="{FF2B5EF4-FFF2-40B4-BE49-F238E27FC236}">
                    <a16:creationId xmlns:a16="http://schemas.microsoft.com/office/drawing/2014/main" id="{B451E5A3-4CB0-48E0-8165-36259B3A1195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79" name="MoonLegend3" hidden="1">
              <a:extLst>
                <a:ext uri="{FF2B5EF4-FFF2-40B4-BE49-F238E27FC236}">
                  <a16:creationId xmlns:a16="http://schemas.microsoft.com/office/drawing/2014/main" id="{CCA1B5A0-01FC-4D63-A5BA-8FF1905A5B98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87" name="Oval 186" hidden="1">
                <a:extLst>
                  <a:ext uri="{FF2B5EF4-FFF2-40B4-BE49-F238E27FC236}">
                    <a16:creationId xmlns:a16="http://schemas.microsoft.com/office/drawing/2014/main" id="{148EF22F-929B-4D1E-BAD3-4F8E0AB9B89E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88" name="Arc 187" hidden="1">
                <a:extLst>
                  <a:ext uri="{FF2B5EF4-FFF2-40B4-BE49-F238E27FC236}">
                    <a16:creationId xmlns:a16="http://schemas.microsoft.com/office/drawing/2014/main" id="{FC3514F6-8FFF-446A-B0F0-157469FC9A2B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80" name="MoonLegend4" hidden="1">
              <a:extLst>
                <a:ext uri="{FF2B5EF4-FFF2-40B4-BE49-F238E27FC236}">
                  <a16:creationId xmlns:a16="http://schemas.microsoft.com/office/drawing/2014/main" id="{1FEB0E84-C05F-4893-810F-76988B257346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84" name="Oval 183" hidden="1">
                <a:extLst>
                  <a:ext uri="{FF2B5EF4-FFF2-40B4-BE49-F238E27FC236}">
                    <a16:creationId xmlns:a16="http://schemas.microsoft.com/office/drawing/2014/main" id="{C1A3C7B0-C48D-4DBA-808D-EFE7D16D82FB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85" name="Arc 184" hidden="1">
                <a:extLst>
                  <a:ext uri="{FF2B5EF4-FFF2-40B4-BE49-F238E27FC236}">
                    <a16:creationId xmlns:a16="http://schemas.microsoft.com/office/drawing/2014/main" id="{24920167-749D-43A3-ACDA-7A2D6395ED68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81" name="MoonLegend5" hidden="1">
              <a:extLst>
                <a:ext uri="{FF2B5EF4-FFF2-40B4-BE49-F238E27FC236}">
                  <a16:creationId xmlns:a16="http://schemas.microsoft.com/office/drawing/2014/main" id="{E0698A10-4500-4D0E-9EC6-A3BD37BE7A9E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82" name="Oval 181" hidden="1">
                <a:extLst>
                  <a:ext uri="{FF2B5EF4-FFF2-40B4-BE49-F238E27FC236}">
                    <a16:creationId xmlns:a16="http://schemas.microsoft.com/office/drawing/2014/main" id="{22BACCB4-258E-43DE-98CC-C8F5A047906B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83" name="Arc 182" hidden="1">
                <a:extLst>
                  <a:ext uri="{FF2B5EF4-FFF2-40B4-BE49-F238E27FC236}">
                    <a16:creationId xmlns:a16="http://schemas.microsoft.com/office/drawing/2014/main" id="{293EEF3B-F6E4-4786-8B6F-C138E7A96529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193" name="LegendBoxes" hidden="1">
            <a:extLst>
              <a:ext uri="{FF2B5EF4-FFF2-40B4-BE49-F238E27FC236}">
                <a16:creationId xmlns:a16="http://schemas.microsoft.com/office/drawing/2014/main" id="{8B383AE1-3237-4072-A4A6-78EF864F79A4}"/>
              </a:ext>
            </a:extLst>
          </p:cNvPr>
          <p:cNvGrpSpPr/>
          <p:nvPr/>
        </p:nvGrpSpPr>
        <p:grpSpPr>
          <a:xfrm>
            <a:off x="10796279" y="4381500"/>
            <a:ext cx="853663" cy="1717282"/>
            <a:chOff x="10652400" y="4322824"/>
            <a:chExt cx="853663" cy="1717282"/>
          </a:xfrm>
        </p:grpSpPr>
        <p:sp>
          <p:nvSpPr>
            <p:cNvPr id="194" name="RectangleLegend1" hidden="1">
              <a:extLst>
                <a:ext uri="{FF2B5EF4-FFF2-40B4-BE49-F238E27FC236}">
                  <a16:creationId xmlns:a16="http://schemas.microsoft.com/office/drawing/2014/main" id="{0EA23167-681D-4989-BC18-D73BAB2B2AB3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95" name="RectangleLegend2" hidden="1">
              <a:extLst>
                <a:ext uri="{FF2B5EF4-FFF2-40B4-BE49-F238E27FC236}">
                  <a16:creationId xmlns:a16="http://schemas.microsoft.com/office/drawing/2014/main" id="{85899BF4-99D2-4E2D-B434-476BCD53AD38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96" name="RectangleLegend3" hidden="1">
              <a:extLst>
                <a:ext uri="{FF2B5EF4-FFF2-40B4-BE49-F238E27FC236}">
                  <a16:creationId xmlns:a16="http://schemas.microsoft.com/office/drawing/2014/main" id="{0B167C30-E7EC-419A-B900-3B3C139473EE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97" name="RectangleLegend4" hidden="1">
              <a:extLst>
                <a:ext uri="{FF2B5EF4-FFF2-40B4-BE49-F238E27FC236}">
                  <a16:creationId xmlns:a16="http://schemas.microsoft.com/office/drawing/2014/main" id="{AB8928CE-7CCC-4607-AA2B-308D14F776C5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7" name="RectangleLegend5" hidden="1">
              <a:extLst>
                <a:ext uri="{FF2B5EF4-FFF2-40B4-BE49-F238E27FC236}">
                  <a16:creationId xmlns:a16="http://schemas.microsoft.com/office/drawing/2014/main" id="{5609DB1D-49A1-469C-B440-1807991995FC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8" name="Legend1" hidden="1">
              <a:extLst>
                <a:ext uri="{FF2B5EF4-FFF2-40B4-BE49-F238E27FC236}">
                  <a16:creationId xmlns:a16="http://schemas.microsoft.com/office/drawing/2014/main" id="{C19D4B62-94C4-4A66-8EAE-32DA3026EC9B}"/>
                </a:ext>
              </a:extLst>
            </p:cNvPr>
            <p:cNvSpPr txBox="1"/>
            <p:nvPr/>
          </p:nvSpPr>
          <p:spPr>
            <a:xfrm>
              <a:off x="10978546" y="432282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9" name="Legend2" hidden="1">
              <a:extLst>
                <a:ext uri="{FF2B5EF4-FFF2-40B4-BE49-F238E27FC236}">
                  <a16:creationId xmlns:a16="http://schemas.microsoft.com/office/drawing/2014/main" id="{430CE5FC-9225-4C54-87D2-42C918FC9E0E}"/>
                </a:ext>
              </a:extLst>
            </p:cNvPr>
            <p:cNvSpPr txBox="1"/>
            <p:nvPr/>
          </p:nvSpPr>
          <p:spPr>
            <a:xfrm>
              <a:off x="10978546" y="470232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30" name="Legend3" hidden="1">
              <a:extLst>
                <a:ext uri="{FF2B5EF4-FFF2-40B4-BE49-F238E27FC236}">
                  <a16:creationId xmlns:a16="http://schemas.microsoft.com/office/drawing/2014/main" id="{2F383794-289F-4C43-8E59-C7B62CE7627E}"/>
                </a:ext>
              </a:extLst>
            </p:cNvPr>
            <p:cNvSpPr txBox="1"/>
            <p:nvPr/>
          </p:nvSpPr>
          <p:spPr>
            <a:xfrm>
              <a:off x="10978546" y="5081820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31" name="Legend4" hidden="1">
              <a:extLst>
                <a:ext uri="{FF2B5EF4-FFF2-40B4-BE49-F238E27FC236}">
                  <a16:creationId xmlns:a16="http://schemas.microsoft.com/office/drawing/2014/main" id="{FF3D5E8A-C4CA-410D-A740-D54C4CF48892}"/>
                </a:ext>
              </a:extLst>
            </p:cNvPr>
            <p:cNvSpPr txBox="1"/>
            <p:nvPr/>
          </p:nvSpPr>
          <p:spPr>
            <a:xfrm>
              <a:off x="10978546" y="5453241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32" name="Legend5" hidden="1">
              <a:extLst>
                <a:ext uri="{FF2B5EF4-FFF2-40B4-BE49-F238E27FC236}">
                  <a16:creationId xmlns:a16="http://schemas.microsoft.com/office/drawing/2014/main" id="{D48CF223-4C15-47D6-AF1A-6CDC04B4C1F8}"/>
                </a:ext>
              </a:extLst>
            </p:cNvPr>
            <p:cNvSpPr txBox="1"/>
            <p:nvPr/>
          </p:nvSpPr>
          <p:spPr>
            <a:xfrm>
              <a:off x="10978545" y="582466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pic>
        <p:nvPicPr>
          <p:cNvPr id="170" name="Picture 169">
            <a:extLst>
              <a:ext uri="{FF2B5EF4-FFF2-40B4-BE49-F238E27FC236}">
                <a16:creationId xmlns:a16="http://schemas.microsoft.com/office/drawing/2014/main" id="{DC939171-6E8C-4D80-A238-095B81711D68}"/>
              </a:ext>
            </a:extLst>
          </p:cNvPr>
          <p:cNvPicPr>
            <a:picLocks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72" name="Group 171">
            <a:extLst>
              <a:ext uri="{FF2B5EF4-FFF2-40B4-BE49-F238E27FC236}">
                <a16:creationId xmlns:a16="http://schemas.microsoft.com/office/drawing/2014/main" id="{11CDD93D-7B95-47D6-B3F8-1CC7258B1D37}"/>
              </a:ext>
            </a:extLst>
          </p:cNvPr>
          <p:cNvGrpSpPr/>
          <p:nvPr/>
        </p:nvGrpSpPr>
        <p:grpSpPr>
          <a:xfrm>
            <a:off x="554736" y="6368464"/>
            <a:ext cx="11082528" cy="54693"/>
            <a:chOff x="554736" y="6349068"/>
            <a:chExt cx="11082528" cy="54693"/>
          </a:xfrm>
        </p:grpSpPr>
        <p:cxnSp>
          <p:nvCxnSpPr>
            <p:cNvPr id="173" name="Straight Connector 172">
              <a:extLst>
                <a:ext uri="{FF2B5EF4-FFF2-40B4-BE49-F238E27FC236}">
                  <a16:creationId xmlns:a16="http://schemas.microsoft.com/office/drawing/2014/main" id="{BD712AA2-F213-4DA0-A97B-22A6B333B296}"/>
                </a:ext>
              </a:extLst>
            </p:cNvPr>
            <p:cNvCxnSpPr/>
            <p:nvPr userDrawn="1"/>
          </p:nvCxnSpPr>
          <p:spPr bwMode="ltGray">
            <a:xfrm flipV="1">
              <a:off x="554741" y="6349072"/>
              <a:ext cx="11082523" cy="17939"/>
            </a:xfrm>
            <a:prstGeom prst="line">
              <a:avLst/>
            </a:prstGeom>
            <a:noFill/>
            <a:ln w="6350" cap="flat" cmpd="sng" algn="ctr">
              <a:solidFill>
                <a:srgbClr val="A5A5A5"/>
              </a:solidFill>
              <a:prstDash val="solid"/>
              <a:miter lim="800000"/>
            </a:ln>
            <a:effectLst/>
          </p:spPr>
        </p:cxnSp>
        <p:sp>
          <p:nvSpPr>
            <p:cNvPr id="174" name="Rectangle 173">
              <a:extLst>
                <a:ext uri="{FF2B5EF4-FFF2-40B4-BE49-F238E27FC236}">
                  <a16:creationId xmlns:a16="http://schemas.microsoft.com/office/drawing/2014/main" id="{4263DFF2-9F58-4ECB-B41E-6B47E8753649}"/>
                </a:ext>
              </a:extLst>
            </p:cNvPr>
            <p:cNvSpPr/>
            <p:nvPr userDrawn="1"/>
          </p:nvSpPr>
          <p:spPr bwMode="ltGray">
            <a:xfrm>
              <a:off x="554736" y="6358042"/>
              <a:ext cx="2797733" cy="45719"/>
            </a:xfrm>
            <a:prstGeom prst="rect">
              <a:avLst/>
            </a:prstGeom>
            <a:solidFill>
              <a:srgbClr val="000000">
                <a:lumMod val="65000"/>
                <a:lumOff val="3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5" name="Rectangle 174">
              <a:extLst>
                <a:ext uri="{FF2B5EF4-FFF2-40B4-BE49-F238E27FC236}">
                  <a16:creationId xmlns:a16="http://schemas.microsoft.com/office/drawing/2014/main" id="{5148BDD5-08D6-47E3-92F7-471A9F316451}"/>
                </a:ext>
              </a:extLst>
            </p:cNvPr>
            <p:cNvSpPr/>
            <p:nvPr userDrawn="1"/>
          </p:nvSpPr>
          <p:spPr bwMode="ltGray">
            <a:xfrm>
              <a:off x="10671243" y="6349068"/>
              <a:ext cx="966017" cy="54688"/>
            </a:xfrm>
            <a:prstGeom prst="rect">
              <a:avLst/>
            </a:prstGeom>
            <a:solidFill>
              <a:srgbClr val="000000">
                <a:lumMod val="65000"/>
                <a:lumOff val="3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96475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  <p:sldLayoutId id="2147483680" r:id="rId12"/>
    <p:sldLayoutId id="2147483681" r:id="rId13"/>
    <p:sldLayoutId id="2147483682" r:id="rId14"/>
    <p:sldLayoutId id="2147483683" r:id="rId15"/>
    <p:sldLayoutId id="2147483666" r:id="rId16"/>
    <p:sldLayoutId id="2147483667" r:id="rId17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42913" indent="-2143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8488" indent="-1524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7563" indent="-1476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40B17A4-151A-442A-85BB-61D97FD47CDC}"/>
              </a:ext>
            </a:extLst>
          </p:cNvPr>
          <p:cNvGraphicFramePr>
            <a:graphicFrameLocks noChangeAspect="1"/>
          </p:cNvGraphicFramePr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4170031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5" imgW="592" imgH="591" progId="TCLayout.ActiveDocument.1">
                  <p:embed/>
                </p:oleObj>
              </mc:Choice>
              <mc:Fallback>
                <p:oleObj name="think-cell Slide" r:id="rId4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40B17A4-151A-442A-85BB-61D97FD47C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3399E7-290D-4CE6-AA08-2DA0CF307E1C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>
            <p:custDataLst>
              <p:tags r:id="rId27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>
            <p:custDataLst>
              <p:tags r:id="rId28"/>
            </p:custDataLst>
          </p:nvPr>
        </p:nvSpPr>
        <p:spPr>
          <a:xfrm>
            <a:off x="553972" y="6190849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176" name="Sticker" hidden="1">
            <a:extLst>
              <a:ext uri="{FF2B5EF4-FFF2-40B4-BE49-F238E27FC236}">
                <a16:creationId xmlns:a16="http://schemas.microsoft.com/office/drawing/2014/main" id="{F05F3D84-B1F2-4969-91DD-7BB0F78A4159}"/>
              </a:ext>
            </a:extLst>
          </p:cNvPr>
          <p:cNvSpPr txBox="1"/>
          <p:nvPr/>
        </p:nvSpPr>
        <p:spPr>
          <a:xfrm>
            <a:off x="554736" y="1198743"/>
            <a:ext cx="344646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 lvl="0"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sp>
        <p:nvSpPr>
          <p:cNvPr id="207" name="ACET" hidden="1">
            <a:extLst>
              <a:ext uri="{FF2B5EF4-FFF2-40B4-BE49-F238E27FC236}">
                <a16:creationId xmlns:a16="http://schemas.microsoft.com/office/drawing/2014/main" id="{9C1AB688-8E46-4BED-871D-3FE073C183F2}"/>
              </a:ext>
            </a:extLst>
          </p:cNvPr>
          <p:cNvSpPr txBox="1"/>
          <p:nvPr>
            <p:custDataLst>
              <p:tags r:id="rId29"/>
            </p:custDataLst>
          </p:nvPr>
        </p:nvSpPr>
        <p:spPr>
          <a:xfrm>
            <a:off x="5987738" y="2170800"/>
            <a:ext cx="3049253" cy="49244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Above Chart Exhibit Title</a:t>
            </a:r>
            <a:br>
              <a:rPr lang="en-US"/>
            </a:br>
            <a:r>
              <a:rPr lang="en-US"/>
              <a:t>Unit of Meas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A8BC65-10CC-4404-9B17-2797DDA477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1646241"/>
            <a:ext cx="4380112" cy="13849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69" name="LegendBoxes" hidden="1">
            <a:extLst>
              <a:ext uri="{FF2B5EF4-FFF2-40B4-BE49-F238E27FC236}">
                <a16:creationId xmlns:a16="http://schemas.microsoft.com/office/drawing/2014/main" id="{336CF73D-9EAC-4C82-AD58-75B535DC99C3}"/>
              </a:ext>
            </a:extLst>
          </p:cNvPr>
          <p:cNvGrpSpPr/>
          <p:nvPr/>
        </p:nvGrpSpPr>
        <p:grpSpPr>
          <a:xfrm>
            <a:off x="10796279" y="4381500"/>
            <a:ext cx="853663" cy="1717282"/>
            <a:chOff x="10554770" y="4322824"/>
            <a:chExt cx="853663" cy="1717282"/>
          </a:xfrm>
        </p:grpSpPr>
        <p:sp>
          <p:nvSpPr>
            <p:cNvPr id="173" name="RectangleLegend1" hidden="1">
              <a:extLst>
                <a:ext uri="{FF2B5EF4-FFF2-40B4-BE49-F238E27FC236}">
                  <a16:creationId xmlns:a16="http://schemas.microsoft.com/office/drawing/2014/main" id="{AA5104CD-50B9-4BE6-8443-27997BD1F1D2}"/>
                </a:ext>
              </a:extLst>
            </p:cNvPr>
            <p:cNvSpPr/>
            <p:nvPr/>
          </p:nvSpPr>
          <p:spPr>
            <a:xfrm>
              <a:off x="1055477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74" name="RectangleLegend2" hidden="1">
              <a:extLst>
                <a:ext uri="{FF2B5EF4-FFF2-40B4-BE49-F238E27FC236}">
                  <a16:creationId xmlns:a16="http://schemas.microsoft.com/office/drawing/2014/main" id="{E3E9EF4F-BA87-4696-BE55-DA11A7F483A7}"/>
                </a:ext>
              </a:extLst>
            </p:cNvPr>
            <p:cNvSpPr/>
            <p:nvPr/>
          </p:nvSpPr>
          <p:spPr>
            <a:xfrm>
              <a:off x="1055477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75" name="RectangleLegend3" hidden="1">
              <a:extLst>
                <a:ext uri="{FF2B5EF4-FFF2-40B4-BE49-F238E27FC236}">
                  <a16:creationId xmlns:a16="http://schemas.microsoft.com/office/drawing/2014/main" id="{5FA551E2-2E6B-4135-BA35-83381928274A}"/>
                </a:ext>
              </a:extLst>
            </p:cNvPr>
            <p:cNvSpPr/>
            <p:nvPr/>
          </p:nvSpPr>
          <p:spPr>
            <a:xfrm>
              <a:off x="1055477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77" name="RectangleLegend4" hidden="1">
              <a:extLst>
                <a:ext uri="{FF2B5EF4-FFF2-40B4-BE49-F238E27FC236}">
                  <a16:creationId xmlns:a16="http://schemas.microsoft.com/office/drawing/2014/main" id="{7E97B814-5DB9-461D-93D9-AEAE6BFED3CF}"/>
                </a:ext>
              </a:extLst>
            </p:cNvPr>
            <p:cNvSpPr/>
            <p:nvPr/>
          </p:nvSpPr>
          <p:spPr>
            <a:xfrm>
              <a:off x="1055477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78" name="RectangleLegend5" hidden="1">
              <a:extLst>
                <a:ext uri="{FF2B5EF4-FFF2-40B4-BE49-F238E27FC236}">
                  <a16:creationId xmlns:a16="http://schemas.microsoft.com/office/drawing/2014/main" id="{042935EC-D202-4B62-80EA-47DDDC150C3B}"/>
                </a:ext>
              </a:extLst>
            </p:cNvPr>
            <p:cNvSpPr/>
            <p:nvPr/>
          </p:nvSpPr>
          <p:spPr>
            <a:xfrm>
              <a:off x="1055477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79" name="Legend1" hidden="1">
              <a:extLst>
                <a:ext uri="{FF2B5EF4-FFF2-40B4-BE49-F238E27FC236}">
                  <a16:creationId xmlns:a16="http://schemas.microsoft.com/office/drawing/2014/main" id="{70C00A86-5BCD-4D56-8A52-E5BFF4610EED}"/>
                </a:ext>
              </a:extLst>
            </p:cNvPr>
            <p:cNvSpPr txBox="1"/>
            <p:nvPr/>
          </p:nvSpPr>
          <p:spPr>
            <a:xfrm>
              <a:off x="10880916" y="432282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0" name="Legend2" hidden="1">
              <a:extLst>
                <a:ext uri="{FF2B5EF4-FFF2-40B4-BE49-F238E27FC236}">
                  <a16:creationId xmlns:a16="http://schemas.microsoft.com/office/drawing/2014/main" id="{C3BD56F4-BE7A-4411-96C7-17EDB0FAA986}"/>
                </a:ext>
              </a:extLst>
            </p:cNvPr>
            <p:cNvSpPr txBox="1"/>
            <p:nvPr/>
          </p:nvSpPr>
          <p:spPr>
            <a:xfrm>
              <a:off x="10880916" y="470232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1" name="Legend3" hidden="1">
              <a:extLst>
                <a:ext uri="{FF2B5EF4-FFF2-40B4-BE49-F238E27FC236}">
                  <a16:creationId xmlns:a16="http://schemas.microsoft.com/office/drawing/2014/main" id="{66069E57-314F-4621-8C4F-22B7F692D52F}"/>
                </a:ext>
              </a:extLst>
            </p:cNvPr>
            <p:cNvSpPr txBox="1"/>
            <p:nvPr/>
          </p:nvSpPr>
          <p:spPr>
            <a:xfrm>
              <a:off x="10880916" y="5081820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2" name="Legend4" hidden="1">
              <a:extLst>
                <a:ext uri="{FF2B5EF4-FFF2-40B4-BE49-F238E27FC236}">
                  <a16:creationId xmlns:a16="http://schemas.microsoft.com/office/drawing/2014/main" id="{CAC0FB10-E1AD-4DED-A5AE-63C68ACCA51C}"/>
                </a:ext>
              </a:extLst>
            </p:cNvPr>
            <p:cNvSpPr txBox="1"/>
            <p:nvPr/>
          </p:nvSpPr>
          <p:spPr>
            <a:xfrm>
              <a:off x="10880916" y="5453241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3" name="Legend5" hidden="1">
              <a:extLst>
                <a:ext uri="{FF2B5EF4-FFF2-40B4-BE49-F238E27FC236}">
                  <a16:creationId xmlns:a16="http://schemas.microsoft.com/office/drawing/2014/main" id="{06570D92-C22D-4A0D-9744-8B3238FDC07B}"/>
                </a:ext>
              </a:extLst>
            </p:cNvPr>
            <p:cNvSpPr txBox="1"/>
            <p:nvPr/>
          </p:nvSpPr>
          <p:spPr>
            <a:xfrm>
              <a:off x="10880915" y="582466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grpSp>
        <p:nvGrpSpPr>
          <p:cNvPr id="184" name="LegendLines" hidden="1">
            <a:extLst>
              <a:ext uri="{FF2B5EF4-FFF2-40B4-BE49-F238E27FC236}">
                <a16:creationId xmlns:a16="http://schemas.microsoft.com/office/drawing/2014/main" id="{34D5A2B5-208E-4F7E-9894-D28B0349589C}"/>
              </a:ext>
            </a:extLst>
          </p:cNvPr>
          <p:cNvGrpSpPr/>
          <p:nvPr/>
        </p:nvGrpSpPr>
        <p:grpSpPr>
          <a:xfrm>
            <a:off x="10398782" y="3150831"/>
            <a:ext cx="1251160" cy="958286"/>
            <a:chOff x="10162879" y="3243772"/>
            <a:chExt cx="1251160" cy="958286"/>
          </a:xfrm>
        </p:grpSpPr>
        <p:sp>
          <p:nvSpPr>
            <p:cNvPr id="185" name="Legend1" hidden="1">
              <a:extLst>
                <a:ext uri="{FF2B5EF4-FFF2-40B4-BE49-F238E27FC236}">
                  <a16:creationId xmlns:a16="http://schemas.microsoft.com/office/drawing/2014/main" id="{3BDF2997-A746-4065-A335-1EC2B713EC45}"/>
                </a:ext>
              </a:extLst>
            </p:cNvPr>
            <p:cNvSpPr txBox="1"/>
            <p:nvPr/>
          </p:nvSpPr>
          <p:spPr>
            <a:xfrm>
              <a:off x="10886522" y="324377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627FC6EC-32D9-4B92-A010-9684C50541D4}"/>
                </a:ext>
              </a:extLst>
            </p:cNvPr>
            <p:cNvSpPr txBox="1"/>
            <p:nvPr/>
          </p:nvSpPr>
          <p:spPr>
            <a:xfrm>
              <a:off x="10886522" y="3615193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7" name="Legend3" hidden="1">
              <a:extLst>
                <a:ext uri="{FF2B5EF4-FFF2-40B4-BE49-F238E27FC236}">
                  <a16:creationId xmlns:a16="http://schemas.microsoft.com/office/drawing/2014/main" id="{FD789B3D-964F-4D5A-86F3-7CAE2494B254}"/>
                </a:ext>
              </a:extLst>
            </p:cNvPr>
            <p:cNvSpPr txBox="1"/>
            <p:nvPr/>
          </p:nvSpPr>
          <p:spPr>
            <a:xfrm>
              <a:off x="10886522" y="398661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8" name="LineLegend3" hidden="1">
              <a:extLst>
                <a:ext uri="{FF2B5EF4-FFF2-40B4-BE49-F238E27FC236}">
                  <a16:creationId xmlns:a16="http://schemas.microsoft.com/office/drawing/2014/main" id="{976FF6AB-E20C-4F87-BD90-25A54009533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latin typeface="+mn-lt"/>
                <a:ea typeface="+mn-ea"/>
              </a:endParaRPr>
            </a:p>
          </p:txBody>
        </p:sp>
        <p:sp>
          <p:nvSpPr>
            <p:cNvPr id="189" name="LineLegend2" hidden="1">
              <a:extLst>
                <a:ext uri="{FF2B5EF4-FFF2-40B4-BE49-F238E27FC236}">
                  <a16:creationId xmlns:a16="http://schemas.microsoft.com/office/drawing/2014/main" id="{49D21340-396F-48FD-BAF7-75D68450957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latin typeface="+mn-lt"/>
                <a:ea typeface="+mn-ea"/>
              </a:endParaRPr>
            </a:p>
          </p:txBody>
        </p:sp>
        <p:sp>
          <p:nvSpPr>
            <p:cNvPr id="190" name="LineLegend1" hidden="1">
              <a:extLst>
                <a:ext uri="{FF2B5EF4-FFF2-40B4-BE49-F238E27FC236}">
                  <a16:creationId xmlns:a16="http://schemas.microsoft.com/office/drawing/2014/main" id="{63956254-A8B3-4274-B7DF-E21E3D24370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latin typeface="+mn-lt"/>
                <a:ea typeface="+mn-ea"/>
              </a:endParaRPr>
            </a:p>
          </p:txBody>
        </p:sp>
      </p:grpSp>
      <p:grpSp>
        <p:nvGrpSpPr>
          <p:cNvPr id="191" name="LegendMoons" hidden="1">
            <a:extLst>
              <a:ext uri="{FF2B5EF4-FFF2-40B4-BE49-F238E27FC236}">
                <a16:creationId xmlns:a16="http://schemas.microsoft.com/office/drawing/2014/main" id="{5E2BE3E0-F201-4452-BDD9-2476EAADC002}"/>
              </a:ext>
            </a:extLst>
          </p:cNvPr>
          <p:cNvGrpSpPr/>
          <p:nvPr/>
        </p:nvGrpSpPr>
        <p:grpSpPr>
          <a:xfrm>
            <a:off x="10769793" y="1145373"/>
            <a:ext cx="880149" cy="1731859"/>
            <a:chOff x="7716535" y="2630582"/>
            <a:chExt cx="880149" cy="1731859"/>
          </a:xfrm>
        </p:grpSpPr>
        <p:sp>
          <p:nvSpPr>
            <p:cNvPr id="192" name="Legend1" hidden="1">
              <a:extLst>
                <a:ext uri="{FF2B5EF4-FFF2-40B4-BE49-F238E27FC236}">
                  <a16:creationId xmlns:a16="http://schemas.microsoft.com/office/drawing/2014/main" id="{1275E184-31CD-4843-8D0B-0D16FAC758EE}"/>
                </a:ext>
              </a:extLst>
            </p:cNvPr>
            <p:cNvSpPr txBox="1"/>
            <p:nvPr/>
          </p:nvSpPr>
          <p:spPr>
            <a:xfrm>
              <a:off x="8069167" y="2637941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3" name="Legend2" hidden="1">
              <a:extLst>
                <a:ext uri="{FF2B5EF4-FFF2-40B4-BE49-F238E27FC236}">
                  <a16:creationId xmlns:a16="http://schemas.microsoft.com/office/drawing/2014/main" id="{A83DA2D0-FADB-4D27-BCCE-9C0A111EA84A}"/>
                </a:ext>
              </a:extLst>
            </p:cNvPr>
            <p:cNvSpPr txBox="1"/>
            <p:nvPr/>
          </p:nvSpPr>
          <p:spPr>
            <a:xfrm>
              <a:off x="8069167" y="3013400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4" name="Legend3" hidden="1">
              <a:extLst>
                <a:ext uri="{FF2B5EF4-FFF2-40B4-BE49-F238E27FC236}">
                  <a16:creationId xmlns:a16="http://schemas.microsoft.com/office/drawing/2014/main" id="{8A2D9901-F045-4DBC-950F-430313A8A38A}"/>
                </a:ext>
              </a:extLst>
            </p:cNvPr>
            <p:cNvSpPr txBox="1"/>
            <p:nvPr/>
          </p:nvSpPr>
          <p:spPr>
            <a:xfrm>
              <a:off x="8069167" y="3388859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5" name="Legend4" hidden="1">
              <a:extLst>
                <a:ext uri="{FF2B5EF4-FFF2-40B4-BE49-F238E27FC236}">
                  <a16:creationId xmlns:a16="http://schemas.microsoft.com/office/drawing/2014/main" id="{96D27194-105B-4B87-9475-7D68B31E119E}"/>
                </a:ext>
              </a:extLst>
            </p:cNvPr>
            <p:cNvSpPr txBox="1"/>
            <p:nvPr/>
          </p:nvSpPr>
          <p:spPr>
            <a:xfrm>
              <a:off x="8069167" y="3764318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6" name="Legend5" hidden="1">
              <a:extLst>
                <a:ext uri="{FF2B5EF4-FFF2-40B4-BE49-F238E27FC236}">
                  <a16:creationId xmlns:a16="http://schemas.microsoft.com/office/drawing/2014/main" id="{D610964F-6013-43D3-ADB7-719AF93C8180}"/>
                </a:ext>
              </a:extLst>
            </p:cNvPr>
            <p:cNvSpPr txBox="1"/>
            <p:nvPr/>
          </p:nvSpPr>
          <p:spPr>
            <a:xfrm>
              <a:off x="8069167" y="4139779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197" name="MoonLegend1" hidden="1">
              <a:extLst>
                <a:ext uri="{FF2B5EF4-FFF2-40B4-BE49-F238E27FC236}">
                  <a16:creationId xmlns:a16="http://schemas.microsoft.com/office/drawing/2014/main" id="{77604726-049C-4EC7-9F31-4A9238238362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16535" y="2630582"/>
              <a:ext cx="228600" cy="228600"/>
              <a:chOff x="762000" y="1270000"/>
              <a:chExt cx="254000" cy="254000"/>
            </a:xfrm>
          </p:grpSpPr>
          <p:sp>
            <p:nvSpPr>
              <p:cNvPr id="228" name="Oval 227" hidden="1">
                <a:extLst>
                  <a:ext uri="{FF2B5EF4-FFF2-40B4-BE49-F238E27FC236}">
                    <a16:creationId xmlns:a16="http://schemas.microsoft.com/office/drawing/2014/main" id="{AC96FFDC-3A91-49F4-AED1-8F1D7AFADC8D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29" name="Arc 228" hidden="1">
                <a:extLst>
                  <a:ext uri="{FF2B5EF4-FFF2-40B4-BE49-F238E27FC236}">
                    <a16:creationId xmlns:a16="http://schemas.microsoft.com/office/drawing/2014/main" id="{C34DC120-4E4A-45C0-9285-6E0C89255FB1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98" name="MoonLegend2" hidden="1">
              <a:extLst>
                <a:ext uri="{FF2B5EF4-FFF2-40B4-BE49-F238E27FC236}">
                  <a16:creationId xmlns:a16="http://schemas.microsoft.com/office/drawing/2014/main" id="{D899F0C0-098A-4F1A-ADEA-212A76A1CEF5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16535" y="3006395"/>
              <a:ext cx="228600" cy="228600"/>
              <a:chOff x="762000" y="1270000"/>
              <a:chExt cx="254000" cy="254000"/>
            </a:xfrm>
          </p:grpSpPr>
          <p:sp>
            <p:nvSpPr>
              <p:cNvPr id="226" name="Oval 225" hidden="1">
                <a:extLst>
                  <a:ext uri="{FF2B5EF4-FFF2-40B4-BE49-F238E27FC236}">
                    <a16:creationId xmlns:a16="http://schemas.microsoft.com/office/drawing/2014/main" id="{4F194C43-1FB0-4C74-8381-C17A3CB1F3B6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27" name="Arc 226" hidden="1">
                <a:extLst>
                  <a:ext uri="{FF2B5EF4-FFF2-40B4-BE49-F238E27FC236}">
                    <a16:creationId xmlns:a16="http://schemas.microsoft.com/office/drawing/2014/main" id="{EC193FEE-8592-4349-ADAB-3DBB6D4929E1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99" name="MoonLegend3" hidden="1">
              <a:extLst>
                <a:ext uri="{FF2B5EF4-FFF2-40B4-BE49-F238E27FC236}">
                  <a16:creationId xmlns:a16="http://schemas.microsoft.com/office/drawing/2014/main" id="{47B05558-F119-4B9E-A39E-3F2C87CA5CE4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16535" y="3382210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89D0E997-1ACF-4F07-98C8-AAB979251932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25" name="Arc 224" hidden="1">
                <a:extLst>
                  <a:ext uri="{FF2B5EF4-FFF2-40B4-BE49-F238E27FC236}">
                    <a16:creationId xmlns:a16="http://schemas.microsoft.com/office/drawing/2014/main" id="{0EE7967E-AA23-4D95-813C-5D762562F98E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0" name="MoonLegend4" hidden="1">
              <a:extLst>
                <a:ext uri="{FF2B5EF4-FFF2-40B4-BE49-F238E27FC236}">
                  <a16:creationId xmlns:a16="http://schemas.microsoft.com/office/drawing/2014/main" id="{A9A7FEE2-DE39-4796-853F-F0C545E65699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16535" y="3758025"/>
              <a:ext cx="228600" cy="228600"/>
              <a:chOff x="762000" y="1270000"/>
              <a:chExt cx="254000" cy="254000"/>
            </a:xfrm>
          </p:grpSpPr>
          <p:sp>
            <p:nvSpPr>
              <p:cNvPr id="204" name="Oval 203" hidden="1">
                <a:extLst>
                  <a:ext uri="{FF2B5EF4-FFF2-40B4-BE49-F238E27FC236}">
                    <a16:creationId xmlns:a16="http://schemas.microsoft.com/office/drawing/2014/main" id="{DBE84A29-DEA9-4004-AEB0-AE0022F70854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5" name="Arc 204" hidden="1">
                <a:extLst>
                  <a:ext uri="{FF2B5EF4-FFF2-40B4-BE49-F238E27FC236}">
                    <a16:creationId xmlns:a16="http://schemas.microsoft.com/office/drawing/2014/main" id="{CC9C47BC-CBF9-48ED-8A45-1C0330BAB765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1" name="MoonLegend5" hidden="1">
              <a:extLst>
                <a:ext uri="{FF2B5EF4-FFF2-40B4-BE49-F238E27FC236}">
                  <a16:creationId xmlns:a16="http://schemas.microsoft.com/office/drawing/2014/main" id="{FEF6CE26-150D-4B22-9ED7-CC44BB86B871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>
            <a:xfrm>
              <a:off x="7716535" y="4133841"/>
              <a:ext cx="228600" cy="228600"/>
              <a:chOff x="762000" y="1270000"/>
              <a:chExt cx="254000" cy="254000"/>
            </a:xfrm>
          </p:grpSpPr>
          <p:sp>
            <p:nvSpPr>
              <p:cNvPr id="202" name="Oval 201" hidden="1">
                <a:extLst>
                  <a:ext uri="{FF2B5EF4-FFF2-40B4-BE49-F238E27FC236}">
                    <a16:creationId xmlns:a16="http://schemas.microsoft.com/office/drawing/2014/main" id="{1EB555AF-AD78-4E43-A189-D3CD2615E664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3" name="Arc 202" hidden="1">
                <a:extLst>
                  <a:ext uri="{FF2B5EF4-FFF2-40B4-BE49-F238E27FC236}">
                    <a16:creationId xmlns:a16="http://schemas.microsoft.com/office/drawing/2014/main" id="{0EE81E0A-F565-4B8C-85A0-8E41337C018D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pic>
        <p:nvPicPr>
          <p:cNvPr id="146" name="Picture 145">
            <a:extLst>
              <a:ext uri="{FF2B5EF4-FFF2-40B4-BE49-F238E27FC236}">
                <a16:creationId xmlns:a16="http://schemas.microsoft.com/office/drawing/2014/main" id="{E3156152-E06E-43BF-A0F6-6417AC24061F}"/>
              </a:ext>
            </a:extLst>
          </p:cNvPr>
          <p:cNvPicPr>
            <a:picLocks/>
          </p:cNvPicPr>
          <p:nvPr/>
        </p:nvPicPr>
        <p:blipFill>
          <a:blip r:embed="rId47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47" name="Group 146">
            <a:extLst>
              <a:ext uri="{FF2B5EF4-FFF2-40B4-BE49-F238E27FC236}">
                <a16:creationId xmlns:a16="http://schemas.microsoft.com/office/drawing/2014/main" id="{526AB256-5CD5-4CA3-B576-569F716943D3}"/>
              </a:ext>
            </a:extLst>
          </p:cNvPr>
          <p:cNvGrpSpPr/>
          <p:nvPr/>
        </p:nvGrpSpPr>
        <p:grpSpPr>
          <a:xfrm>
            <a:off x="554736" y="6368464"/>
            <a:ext cx="11082528" cy="54693"/>
            <a:chOff x="554736" y="6349068"/>
            <a:chExt cx="11082528" cy="54693"/>
          </a:xfrm>
          <a:solidFill>
            <a:schemeClr val="accent1"/>
          </a:solidFill>
        </p:grpSpPr>
        <p:cxnSp>
          <p:nvCxnSpPr>
            <p:cNvPr id="148" name="Straight Connector 147">
              <a:extLst>
                <a:ext uri="{FF2B5EF4-FFF2-40B4-BE49-F238E27FC236}">
                  <a16:creationId xmlns:a16="http://schemas.microsoft.com/office/drawing/2014/main" id="{80E5D51F-9DED-49A3-9245-E7989703E3C8}"/>
                </a:ext>
              </a:extLst>
            </p:cNvPr>
            <p:cNvCxnSpPr/>
            <p:nvPr userDrawn="1"/>
          </p:nvCxnSpPr>
          <p:spPr bwMode="ltGray">
            <a:xfrm flipV="1">
              <a:off x="554741" y="6349072"/>
              <a:ext cx="11082523" cy="17939"/>
            </a:xfrm>
            <a:prstGeom prst="line">
              <a:avLst/>
            </a:prstGeom>
            <a:grpFill/>
            <a:ln w="6350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</p:cxnSp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0416E5CC-65D0-4640-A126-9E1DC1C3A90E}"/>
                </a:ext>
              </a:extLst>
            </p:cNvPr>
            <p:cNvSpPr/>
            <p:nvPr userDrawn="1"/>
          </p:nvSpPr>
          <p:spPr bwMode="ltGray">
            <a:xfrm>
              <a:off x="554736" y="6358042"/>
              <a:ext cx="2797733" cy="45719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903A921A-FFDF-4D81-8EAF-2D168CA67FA8}"/>
                </a:ext>
              </a:extLst>
            </p:cNvPr>
            <p:cNvSpPr/>
            <p:nvPr userDrawn="1"/>
          </p:nvSpPr>
          <p:spPr bwMode="ltGray">
            <a:xfrm>
              <a:off x="10671243" y="6349068"/>
              <a:ext cx="966017" cy="54688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0B93C4F3-C2F3-DE62-9B2A-F0AE94CAB71F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87820"/>
            <a:ext cx="3308350" cy="1066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7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assified as Public and Information can be shared with anyone needful of the Information.</a:t>
            </a:r>
          </a:p>
        </p:txBody>
      </p:sp>
    </p:spTree>
    <p:extLst>
      <p:ext uri="{BB962C8B-B14F-4D97-AF65-F5344CB8AC3E}">
        <p14:creationId xmlns:p14="http://schemas.microsoft.com/office/powerpoint/2010/main" val="3163080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  <p:sldLayoutId id="2147483700" r:id="rId14"/>
    <p:sldLayoutId id="2147483701" r:id="rId15"/>
    <p:sldLayoutId id="2147483702" r:id="rId16"/>
    <p:sldLayoutId id="2147483703" r:id="rId17"/>
    <p:sldLayoutId id="2147483704" r:id="rId18"/>
    <p:sldLayoutId id="2147483756" r:id="rId19"/>
    <p:sldLayoutId id="2147483757" r:id="rId20"/>
    <p:sldLayoutId id="2147483758" r:id="rId21"/>
    <p:sldLayoutId id="2147483759" r:id="rId22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442913" indent="-2143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598488" indent="-1524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817563" indent="-1476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270" imgH="270" progId="TCLayout.ActiveDocument.1">
                  <p:embed/>
                </p:oleObj>
              </mc:Choice>
              <mc:Fallback>
                <p:oleObj name="think-cell Slide" r:id="rId3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7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200" b="0" i="0" baseline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9" name="Picture 108"/>
          <p:cNvPicPr>
            <a:picLocks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233258" y="6468512"/>
            <a:ext cx="2889060" cy="26923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5" name="Straight Connector 104"/>
          <p:cNvCxnSpPr/>
          <p:nvPr/>
        </p:nvCxnSpPr>
        <p:spPr bwMode="ltGray">
          <a:xfrm flipV="1">
            <a:off x="233263" y="6310160"/>
            <a:ext cx="11725480" cy="17939"/>
          </a:xfrm>
          <a:prstGeom prst="line">
            <a:avLst/>
          </a:prstGeom>
          <a:noFill/>
          <a:ln w="6350" cap="flat" cmpd="sng" algn="ctr">
            <a:solidFill>
              <a:srgbClr val="A5A5A5"/>
            </a:solidFill>
            <a:prstDash val="solid"/>
            <a:miter lim="800000"/>
          </a:ln>
          <a:effectLst/>
        </p:spPr>
      </p:cxnSp>
      <p:sp>
        <p:nvSpPr>
          <p:cNvPr id="106" name="Rectangle 105"/>
          <p:cNvSpPr/>
          <p:nvPr/>
        </p:nvSpPr>
        <p:spPr bwMode="ltGray">
          <a:xfrm>
            <a:off x="10650379" y="6310156"/>
            <a:ext cx="1308360" cy="54688"/>
          </a:xfrm>
          <a:prstGeom prst="rect">
            <a:avLst/>
          </a:prstGeom>
          <a:solidFill>
            <a:srgbClr val="000000">
              <a:lumMod val="65000"/>
              <a:lumOff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7" name="Rectangle 106"/>
          <p:cNvSpPr/>
          <p:nvPr/>
        </p:nvSpPr>
        <p:spPr bwMode="ltGray">
          <a:xfrm>
            <a:off x="233258" y="6319130"/>
            <a:ext cx="2960044" cy="45719"/>
          </a:xfrm>
          <a:prstGeom prst="rect">
            <a:avLst/>
          </a:prstGeom>
          <a:solidFill>
            <a:srgbClr val="000000">
              <a:lumMod val="65000"/>
              <a:lumOff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4" name="Slide Number"/>
          <p:cNvSpPr txBox="1">
            <a:spLocks/>
          </p:cNvSpPr>
          <p:nvPr/>
        </p:nvSpPr>
        <p:spPr bwMode="auto">
          <a:xfrm>
            <a:off x="11808061" y="6583245"/>
            <a:ext cx="150682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1000" baseline="0" smtClean="0">
                <a:solidFill>
                  <a:schemeClr val="tx1"/>
                </a:solidFill>
                <a:latin typeface="+mn-lt"/>
              </a:rPr>
              <a:pPr algn="r"/>
              <a:t>‹#›</a:t>
            </a:fld>
            <a:endParaRPr lang="en-US" sz="1000" baseline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1280762" y="2309206"/>
            <a:ext cx="1689565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baseline="0">
                <a:solidFill>
                  <a:srgbClr val="808080"/>
                </a:solidFill>
                <a:latin typeface="+mn-lt"/>
                <a:ea typeface="+mn-ea"/>
              </a:rPr>
              <a:t>Last Modified 9/1/2021 9:10 AM Arab Standard Time</a:t>
            </a:r>
            <a:endParaRPr lang="en-US" sz="1632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386560" y="4527186"/>
            <a:ext cx="1477969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12" baseline="0">
                <a:solidFill>
                  <a:srgbClr val="808080"/>
                </a:solidFill>
                <a:latin typeface="+mn-lt"/>
                <a:ea typeface="+mn-ea"/>
              </a:rPr>
              <a:t>Printed 29/12/2019 07:18 Arab Standard Time</a:t>
            </a:r>
            <a:endParaRPr lang="en-US" sz="1632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3258" y="240563"/>
            <a:ext cx="11725485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33258" y="9525"/>
            <a:ext cx="66390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cap="all" baseline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33258" y="594711"/>
            <a:ext cx="1172548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233257" y="6101354"/>
            <a:ext cx="11725485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95250" indent="-95250">
              <a:defRPr/>
            </a:pPr>
            <a:r>
              <a:rPr lang="en-US" sz="1000" baseline="0">
                <a:solidFill>
                  <a:schemeClr val="tx1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3300307" y="6583199"/>
            <a:ext cx="829161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85775" indent="-485775" defTabSz="913526">
              <a:tabLst>
                <a:tab pos="643032" algn="l"/>
              </a:tabLst>
            </a:pPr>
            <a:r>
              <a:rPr lang="en-US" sz="1000" baseline="0">
                <a:solidFill>
                  <a:schemeClr val="tx1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2578998"/>
            <a:ext cx="5853024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6" y="1993683"/>
            <a:ext cx="5853024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11255480" y="305675"/>
            <a:ext cx="703263" cy="996951"/>
            <a:chOff x="4936" y="176"/>
            <a:chExt cx="443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10947505" y="305675"/>
            <a:ext cx="1011238" cy="730251"/>
            <a:chOff x="4750" y="176"/>
            <a:chExt cx="637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auto">
          <a:xfrm>
            <a:off x="11188906" y="305675"/>
            <a:ext cx="769837" cy="1306516"/>
            <a:chOff x="7875175" y="286625"/>
            <a:chExt cx="769837" cy="1306516"/>
          </a:xfrm>
        </p:grpSpPr>
        <p:grpSp>
          <p:nvGrpSpPr>
            <p:cNvPr id="80" name="MoonLegend2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98" name="Oval 4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9" name="Arc 42"/>
              <p:cNvSpPr>
                <a:spLocks noChangeAspect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81" name="MoonLegend4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96" name="Oval 47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7" name="Arc 48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82" name="MoonLegend5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94" name="Oval 50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5" name="Oval 51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83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4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5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6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7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grpSp>
          <p:nvGrpSpPr>
            <p:cNvPr id="88" name="MoonLegend3"/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2" name="Oval 47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3" name="Arc 48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89" name="MoonLegend1"/>
            <p:cNvGrpSpPr>
              <a:grpSpLocks noChangeAspect="1"/>
            </p:cNvGrpSpPr>
            <p:nvPr userDrawn="1">
              <p:custDataLst>
                <p:tags r:id="rId22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0" name="Oval 4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1" name="Arc 42" hidden="1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</p:grpSp>
      <p:grpSp>
        <p:nvGrpSpPr>
          <p:cNvPr id="100" name="Sticker" hidden="1"/>
          <p:cNvGrpSpPr/>
          <p:nvPr/>
        </p:nvGrpSpPr>
        <p:grpSpPr bwMode="auto">
          <a:xfrm>
            <a:off x="11074078" y="305675"/>
            <a:ext cx="884665" cy="212366"/>
            <a:chOff x="7856110" y="285750"/>
            <a:chExt cx="884665" cy="212366"/>
          </a:xfrm>
        </p:grpSpPr>
        <p:sp>
          <p:nvSpPr>
            <p:cNvPr id="101" name="StickerRectangle"/>
            <p:cNvSpPr>
              <a:spLocks noChangeArrowheads="1"/>
            </p:cNvSpPr>
            <p:nvPr/>
          </p:nvSpPr>
          <p:spPr bwMode="auto">
            <a:xfrm>
              <a:off x="7856110" y="285750"/>
              <a:ext cx="88466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2" name="AutoShape 31"/>
            <p:cNvCxnSpPr>
              <a:cxnSpLocks noChangeShapeType="1"/>
              <a:stCxn id="101" idx="2"/>
              <a:endCxn id="101" idx="4"/>
            </p:cNvCxnSpPr>
            <p:nvPr/>
          </p:nvCxnSpPr>
          <p:spPr bwMode="auto">
            <a:xfrm>
              <a:off x="785611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3" name="AutoShape 32"/>
            <p:cNvCxnSpPr>
              <a:cxnSpLocks noChangeShapeType="1"/>
              <a:stCxn id="101" idx="4"/>
              <a:endCxn id="101" idx="6"/>
            </p:cNvCxnSpPr>
            <p:nvPr/>
          </p:nvCxnSpPr>
          <p:spPr bwMode="auto">
            <a:xfrm>
              <a:off x="7856110" y="498116"/>
              <a:ext cx="88466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8CF6BC89-EF99-B19B-3803-A65C50A3EEA6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87820"/>
            <a:ext cx="3308350" cy="1066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7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assified as Public and Information can be shared with anyone needful of the Information.</a:t>
            </a:r>
          </a:p>
        </p:txBody>
      </p:sp>
    </p:spTree>
    <p:extLst>
      <p:ext uri="{BB962C8B-B14F-4D97-AF65-F5344CB8AC3E}">
        <p14:creationId xmlns:p14="http://schemas.microsoft.com/office/powerpoint/2010/main" val="183268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60" r:id="rId10"/>
    <p:sldLayoutId id="2147483761" r:id="rId11"/>
    <p:sldLayoutId id="2147483762" r:id="rId12"/>
    <p:sldLayoutId id="2147483763" r:id="rId13"/>
    <p:sldLayoutId id="2147483775" r:id="rId14"/>
  </p:sldLayoutIdLst>
  <p:hf sldNum="0"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2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2024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2648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28016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263130396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1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200" b="0" i="0" baseline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9" name="Picture 108"/>
          <p:cNvPicPr>
            <a:picLocks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233258" y="6468512"/>
            <a:ext cx="2889060" cy="26923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5" name="Straight Connector 104"/>
          <p:cNvCxnSpPr/>
          <p:nvPr/>
        </p:nvCxnSpPr>
        <p:spPr bwMode="ltGray">
          <a:xfrm flipV="1">
            <a:off x="233263" y="6310160"/>
            <a:ext cx="11725480" cy="17939"/>
          </a:xfrm>
          <a:prstGeom prst="line">
            <a:avLst/>
          </a:prstGeom>
          <a:noFill/>
          <a:ln w="6350" cap="flat" cmpd="sng" algn="ctr">
            <a:solidFill>
              <a:srgbClr val="A5A5A5"/>
            </a:solidFill>
            <a:prstDash val="solid"/>
            <a:miter lim="800000"/>
          </a:ln>
          <a:effectLst/>
        </p:spPr>
      </p:cxnSp>
      <p:sp>
        <p:nvSpPr>
          <p:cNvPr id="106" name="Rectangle 105"/>
          <p:cNvSpPr/>
          <p:nvPr/>
        </p:nvSpPr>
        <p:spPr bwMode="ltGray">
          <a:xfrm>
            <a:off x="10650379" y="6310156"/>
            <a:ext cx="1308360" cy="54688"/>
          </a:xfrm>
          <a:prstGeom prst="rect">
            <a:avLst/>
          </a:prstGeom>
          <a:solidFill>
            <a:srgbClr val="000000">
              <a:lumMod val="65000"/>
              <a:lumOff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7" name="Rectangle 106"/>
          <p:cNvSpPr/>
          <p:nvPr/>
        </p:nvSpPr>
        <p:spPr bwMode="ltGray">
          <a:xfrm>
            <a:off x="233258" y="6319130"/>
            <a:ext cx="2960044" cy="45719"/>
          </a:xfrm>
          <a:prstGeom prst="rect">
            <a:avLst/>
          </a:prstGeom>
          <a:solidFill>
            <a:srgbClr val="000000">
              <a:lumMod val="65000"/>
              <a:lumOff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4" name="Slide Number"/>
          <p:cNvSpPr txBox="1">
            <a:spLocks/>
          </p:cNvSpPr>
          <p:nvPr/>
        </p:nvSpPr>
        <p:spPr bwMode="auto">
          <a:xfrm>
            <a:off x="11808061" y="6583245"/>
            <a:ext cx="150682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1000" baseline="0" smtClean="0">
                <a:solidFill>
                  <a:schemeClr val="tx1"/>
                </a:solidFill>
                <a:latin typeface="+mn-lt"/>
              </a:rPr>
              <a:pPr algn="r"/>
              <a:t>‹#›</a:t>
            </a:fld>
            <a:endParaRPr lang="en-US" sz="1000" baseline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1280762" y="2309206"/>
            <a:ext cx="1689565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baseline="0">
                <a:solidFill>
                  <a:srgbClr val="808080"/>
                </a:solidFill>
                <a:latin typeface="+mn-lt"/>
                <a:ea typeface="+mn-ea"/>
              </a:rPr>
              <a:t>Last Modified 9/1/2021 9:10 AM Arab Standard Time</a:t>
            </a:r>
            <a:endParaRPr lang="en-US" sz="1632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386560" y="4527186"/>
            <a:ext cx="1477969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12" baseline="0">
                <a:solidFill>
                  <a:srgbClr val="808080"/>
                </a:solidFill>
                <a:latin typeface="+mn-lt"/>
                <a:ea typeface="+mn-ea"/>
              </a:rPr>
              <a:t>Printed 29/12/2019 07:18 Arab Standard Time</a:t>
            </a:r>
            <a:endParaRPr lang="en-US" sz="1632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3258" y="240563"/>
            <a:ext cx="11725485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33258" y="9525"/>
            <a:ext cx="66390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cap="all" baseline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33258" y="594711"/>
            <a:ext cx="1172548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233257" y="6101354"/>
            <a:ext cx="11725485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95250" indent="-95250">
              <a:defRPr/>
            </a:pPr>
            <a:r>
              <a:rPr lang="en-US" sz="1000" baseline="0">
                <a:solidFill>
                  <a:schemeClr val="tx1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3300307" y="6583199"/>
            <a:ext cx="829161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85775" indent="-485775" defTabSz="913526">
              <a:tabLst>
                <a:tab pos="643032" algn="l"/>
              </a:tabLst>
            </a:pPr>
            <a:r>
              <a:rPr lang="en-US" sz="1000" baseline="0">
                <a:solidFill>
                  <a:schemeClr val="tx1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2578998"/>
            <a:ext cx="5853024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6" y="1993683"/>
            <a:ext cx="5853024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11255480" y="305675"/>
            <a:ext cx="703263" cy="996951"/>
            <a:chOff x="4936" y="176"/>
            <a:chExt cx="443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10947505" y="305675"/>
            <a:ext cx="1011238" cy="730251"/>
            <a:chOff x="4750" y="176"/>
            <a:chExt cx="637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auto">
          <a:xfrm>
            <a:off x="11188906" y="305675"/>
            <a:ext cx="769837" cy="1306516"/>
            <a:chOff x="7875175" y="286625"/>
            <a:chExt cx="769837" cy="1306516"/>
          </a:xfrm>
        </p:grpSpPr>
        <p:grpSp>
          <p:nvGrpSpPr>
            <p:cNvPr id="80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98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9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81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96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7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82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94" name="Oval 50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5" name="Oval 5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83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4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5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6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7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grpSp>
          <p:nvGrpSpPr>
            <p:cNvPr id="88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2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3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89" name="MoonLegend1"/>
            <p:cNvGrpSpPr>
              <a:grpSpLocks noChangeAspect="1"/>
            </p:cNvGrpSpPr>
            <p:nvPr userDrawn="1">
              <p:custDataLst>
                <p:tags r:id="rId16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0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1" name="Arc 42" hidden="1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</p:grpSp>
      <p:grpSp>
        <p:nvGrpSpPr>
          <p:cNvPr id="100" name="Sticker" hidden="1"/>
          <p:cNvGrpSpPr/>
          <p:nvPr/>
        </p:nvGrpSpPr>
        <p:grpSpPr bwMode="auto">
          <a:xfrm>
            <a:off x="11074078" y="305675"/>
            <a:ext cx="884665" cy="212366"/>
            <a:chOff x="7856110" y="285750"/>
            <a:chExt cx="884665" cy="212366"/>
          </a:xfrm>
        </p:grpSpPr>
        <p:sp>
          <p:nvSpPr>
            <p:cNvPr id="101" name="StickerRectangle"/>
            <p:cNvSpPr>
              <a:spLocks noChangeArrowheads="1"/>
            </p:cNvSpPr>
            <p:nvPr/>
          </p:nvSpPr>
          <p:spPr bwMode="auto">
            <a:xfrm>
              <a:off x="7856110" y="285750"/>
              <a:ext cx="88466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2" name="AutoShape 31"/>
            <p:cNvCxnSpPr>
              <a:cxnSpLocks noChangeShapeType="1"/>
              <a:stCxn id="101" idx="2"/>
              <a:endCxn id="101" idx="4"/>
            </p:cNvCxnSpPr>
            <p:nvPr/>
          </p:nvCxnSpPr>
          <p:spPr bwMode="auto">
            <a:xfrm>
              <a:off x="785611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3" name="AutoShape 32"/>
            <p:cNvCxnSpPr>
              <a:cxnSpLocks noChangeShapeType="1"/>
              <a:stCxn id="101" idx="4"/>
              <a:endCxn id="101" idx="6"/>
            </p:cNvCxnSpPr>
            <p:nvPr/>
          </p:nvCxnSpPr>
          <p:spPr bwMode="auto">
            <a:xfrm>
              <a:off x="7856110" y="498116"/>
              <a:ext cx="88466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FDE93DDD-E263-8C49-0832-3189C52CEF90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87820"/>
            <a:ext cx="3308350" cy="1066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7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assified as Public and Information can be shared with anyone needful of the Information.</a:t>
            </a:r>
          </a:p>
        </p:txBody>
      </p:sp>
    </p:spTree>
    <p:extLst>
      <p:ext uri="{BB962C8B-B14F-4D97-AF65-F5344CB8AC3E}">
        <p14:creationId xmlns:p14="http://schemas.microsoft.com/office/powerpoint/2010/main" val="1032401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64" r:id="rId5"/>
    <p:sldLayoutId id="2147483765" r:id="rId6"/>
    <p:sldLayoutId id="2147483766" r:id="rId7"/>
    <p:sldLayoutId id="2147483767" r:id="rId8"/>
  </p:sldLayoutIdLst>
  <p:hf sldNum="0"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2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2024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2648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28016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581163586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200" b="0" i="0" baseline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9" name="Picture 108"/>
          <p:cNvPicPr>
            <a:picLocks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233258" y="6468512"/>
            <a:ext cx="2889060" cy="26923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5" name="Straight Connector 104"/>
          <p:cNvCxnSpPr/>
          <p:nvPr/>
        </p:nvCxnSpPr>
        <p:spPr bwMode="ltGray">
          <a:xfrm flipV="1">
            <a:off x="233263" y="6310160"/>
            <a:ext cx="11725480" cy="17939"/>
          </a:xfrm>
          <a:prstGeom prst="line">
            <a:avLst/>
          </a:prstGeom>
          <a:noFill/>
          <a:ln w="6350" cap="flat" cmpd="sng" algn="ctr">
            <a:solidFill>
              <a:srgbClr val="A5A5A5"/>
            </a:solidFill>
            <a:prstDash val="solid"/>
            <a:miter lim="800000"/>
          </a:ln>
          <a:effectLst/>
        </p:spPr>
      </p:cxnSp>
      <p:sp>
        <p:nvSpPr>
          <p:cNvPr id="106" name="Rectangle 105"/>
          <p:cNvSpPr/>
          <p:nvPr/>
        </p:nvSpPr>
        <p:spPr bwMode="ltGray">
          <a:xfrm>
            <a:off x="10650379" y="6310156"/>
            <a:ext cx="1308360" cy="54688"/>
          </a:xfrm>
          <a:prstGeom prst="rect">
            <a:avLst/>
          </a:prstGeom>
          <a:solidFill>
            <a:srgbClr val="000000">
              <a:lumMod val="65000"/>
              <a:lumOff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7" name="Rectangle 106"/>
          <p:cNvSpPr/>
          <p:nvPr/>
        </p:nvSpPr>
        <p:spPr bwMode="ltGray">
          <a:xfrm>
            <a:off x="233258" y="6319130"/>
            <a:ext cx="2960044" cy="45719"/>
          </a:xfrm>
          <a:prstGeom prst="rect">
            <a:avLst/>
          </a:prstGeom>
          <a:solidFill>
            <a:srgbClr val="000000">
              <a:lumMod val="65000"/>
              <a:lumOff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4" name="Slide Number"/>
          <p:cNvSpPr txBox="1">
            <a:spLocks/>
          </p:cNvSpPr>
          <p:nvPr/>
        </p:nvSpPr>
        <p:spPr bwMode="auto">
          <a:xfrm>
            <a:off x="11808061" y="6583245"/>
            <a:ext cx="150682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1000" baseline="0" smtClean="0">
                <a:solidFill>
                  <a:schemeClr val="tx1"/>
                </a:solidFill>
                <a:latin typeface="+mn-lt"/>
              </a:rPr>
              <a:pPr algn="r"/>
              <a:t>‹#›</a:t>
            </a:fld>
            <a:endParaRPr lang="en-US" sz="1000" baseline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1280762" y="2309206"/>
            <a:ext cx="1689565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baseline="0">
                <a:solidFill>
                  <a:srgbClr val="808080"/>
                </a:solidFill>
                <a:latin typeface="+mn-lt"/>
                <a:ea typeface="+mn-ea"/>
              </a:rPr>
              <a:t>Last Modified 9/1/2021 9:10 AM Arab Standard Time</a:t>
            </a:r>
            <a:endParaRPr lang="en-US" sz="1632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386560" y="4527186"/>
            <a:ext cx="1477969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12" baseline="0">
                <a:solidFill>
                  <a:srgbClr val="808080"/>
                </a:solidFill>
                <a:latin typeface="+mn-lt"/>
                <a:ea typeface="+mn-ea"/>
              </a:rPr>
              <a:t>Printed 29/12/2019 07:18 Arab Standard Time</a:t>
            </a:r>
            <a:endParaRPr lang="en-US" sz="1632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3258" y="240563"/>
            <a:ext cx="11725485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33258" y="9525"/>
            <a:ext cx="66390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cap="all" baseline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33258" y="594711"/>
            <a:ext cx="1172548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233257" y="6101354"/>
            <a:ext cx="11725485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95250" indent="-95250">
              <a:defRPr/>
            </a:pPr>
            <a:r>
              <a:rPr lang="en-US" sz="1000" baseline="0">
                <a:solidFill>
                  <a:schemeClr val="tx1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3300307" y="6583199"/>
            <a:ext cx="829161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85775" indent="-485775" defTabSz="913526">
              <a:tabLst>
                <a:tab pos="643032" algn="l"/>
              </a:tabLst>
            </a:pPr>
            <a:r>
              <a:rPr lang="en-US" sz="1000" baseline="0">
                <a:solidFill>
                  <a:schemeClr val="tx1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2578998"/>
            <a:ext cx="5853024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6" y="1993683"/>
            <a:ext cx="5853024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110645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11255480" y="305675"/>
            <a:ext cx="703263" cy="996951"/>
            <a:chOff x="4936" y="176"/>
            <a:chExt cx="443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10947505" y="305675"/>
            <a:ext cx="1011238" cy="730251"/>
            <a:chOff x="4750" y="176"/>
            <a:chExt cx="637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auto">
          <a:xfrm>
            <a:off x="11188906" y="305675"/>
            <a:ext cx="769837" cy="1306516"/>
            <a:chOff x="7875175" y="286625"/>
            <a:chExt cx="769837" cy="1306516"/>
          </a:xfrm>
        </p:grpSpPr>
        <p:grpSp>
          <p:nvGrpSpPr>
            <p:cNvPr id="80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98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9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81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96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7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82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94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5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83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4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5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6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7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grpSp>
          <p:nvGrpSpPr>
            <p:cNvPr id="88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2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3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89" name="MoonLegend1"/>
            <p:cNvGrpSpPr>
              <a:grpSpLocks noChangeAspect="1"/>
            </p:cNvGrpSpPr>
            <p:nvPr userDrawn="1">
              <p:custDataLst>
                <p:tags r:id="rId12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0" name="Oval 4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1" name="Arc 42" hidden="1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</p:grpSp>
      <p:grpSp>
        <p:nvGrpSpPr>
          <p:cNvPr id="100" name="Sticker" hidden="1"/>
          <p:cNvGrpSpPr/>
          <p:nvPr/>
        </p:nvGrpSpPr>
        <p:grpSpPr bwMode="auto">
          <a:xfrm>
            <a:off x="11074078" y="305675"/>
            <a:ext cx="884665" cy="212366"/>
            <a:chOff x="7856110" y="285750"/>
            <a:chExt cx="884665" cy="212366"/>
          </a:xfrm>
        </p:grpSpPr>
        <p:sp>
          <p:nvSpPr>
            <p:cNvPr id="101" name="StickerRectangle"/>
            <p:cNvSpPr>
              <a:spLocks noChangeArrowheads="1"/>
            </p:cNvSpPr>
            <p:nvPr/>
          </p:nvSpPr>
          <p:spPr bwMode="auto">
            <a:xfrm>
              <a:off x="7856110" y="285750"/>
              <a:ext cx="88466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2" name="AutoShape 31"/>
            <p:cNvCxnSpPr>
              <a:cxnSpLocks noChangeShapeType="1"/>
              <a:stCxn id="101" idx="2"/>
              <a:endCxn id="101" idx="4"/>
            </p:cNvCxnSpPr>
            <p:nvPr/>
          </p:nvCxnSpPr>
          <p:spPr bwMode="auto">
            <a:xfrm>
              <a:off x="785611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3" name="AutoShape 32"/>
            <p:cNvCxnSpPr>
              <a:cxnSpLocks noChangeShapeType="1"/>
              <a:stCxn id="101" idx="4"/>
              <a:endCxn id="101" idx="6"/>
            </p:cNvCxnSpPr>
            <p:nvPr/>
          </p:nvCxnSpPr>
          <p:spPr bwMode="auto">
            <a:xfrm>
              <a:off x="7856110" y="498116"/>
              <a:ext cx="88466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755FCCAB-97C4-D105-CCD2-67CD841B70C9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87820"/>
            <a:ext cx="3308350" cy="1066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7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assified as Public and Information can be shared with anyone needful of the Information.</a:t>
            </a:r>
          </a:p>
        </p:txBody>
      </p:sp>
    </p:spTree>
    <p:extLst>
      <p:ext uri="{BB962C8B-B14F-4D97-AF65-F5344CB8AC3E}">
        <p14:creationId xmlns:p14="http://schemas.microsoft.com/office/powerpoint/2010/main" val="23407370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</p:sldLayoutIdLst>
  <p:hf sldNum="0"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2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2024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2648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28016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058836739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hape 8">
            <a:extLst>
              <a:ext uri="{FF2B5EF4-FFF2-40B4-BE49-F238E27FC236}">
                <a16:creationId xmlns:a16="http://schemas.microsoft.com/office/drawing/2014/main" id="{EC0578FA-3510-4363-8FE4-202845F58166}"/>
              </a:ext>
            </a:extLst>
          </p:cNvPr>
          <p:cNvSpPr txBox="1">
            <a:spLocks/>
          </p:cNvSpPr>
          <p:nvPr/>
        </p:nvSpPr>
        <p:spPr>
          <a:xfrm>
            <a:off x="11585691" y="6507671"/>
            <a:ext cx="153888" cy="15068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Univers for KPMG"/>
                <a:ea typeface="Univers for KPMG"/>
                <a:cs typeface="Univers for KPMG"/>
                <a:sym typeface="Univers for KPMG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979" smtClean="0">
                <a:solidFill>
                  <a:srgbClr val="003087"/>
                </a:solidFill>
                <a:latin typeface="Arial" panose="020B0604020202020204" pitchFamily="34" charset="0"/>
                <a:ea typeface="Univers for KPMG"/>
                <a:cs typeface="Arial" panose="020B0604020202020204" pitchFamily="34" charset="0"/>
              </a:rPr>
              <a:pPr algn="r"/>
              <a:t>‹#›</a:t>
            </a:fld>
            <a:endParaRPr lang="en-US" sz="979">
              <a:solidFill>
                <a:srgbClr val="003087"/>
              </a:solidFill>
              <a:latin typeface="Arial" panose="020B0604020202020204" pitchFamily="34" charset="0"/>
              <a:ea typeface="Univers for KPMG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CBC5502-1F35-6E90-6EBC-FB5EEEED8EDA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87820"/>
            <a:ext cx="3308350" cy="1066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7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assified as Public and Information can be shared with anyone needful of the Information.</a:t>
            </a:r>
          </a:p>
        </p:txBody>
      </p:sp>
    </p:spTree>
    <p:extLst>
      <p:ext uri="{BB962C8B-B14F-4D97-AF65-F5344CB8AC3E}">
        <p14:creationId xmlns:p14="http://schemas.microsoft.com/office/powerpoint/2010/main" val="31489671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68" r:id="rId3"/>
    <p:sldLayoutId id="2147483769" r:id="rId4"/>
    <p:sldLayoutId id="2147483770" r:id="rId5"/>
    <p:sldLayoutId id="2147483771" r:id="rId6"/>
    <p:sldLayoutId id="2147483772" r:id="rId7"/>
  </p:sldLayoutIdLst>
  <p:hf sldNum="0" hdr="0" ftr="0" dt="0"/>
  <p:txStyles>
    <p:titleStyle>
      <a:lvl1pPr algn="l" eaLnBrk="1" hangingPunct="1">
        <a:lnSpc>
          <a:spcPct val="100000"/>
        </a:lnSpc>
        <a:defRPr sz="5287" b="0" i="0">
          <a:solidFill>
            <a:srgbClr val="00338D"/>
          </a:solidFill>
          <a:latin typeface="KPMG Extralight"/>
          <a:cs typeface="KPMG Extralight"/>
        </a:defRPr>
      </a:lvl1pPr>
    </p:titleStyle>
    <p:bodyStyle>
      <a:lvl1pPr eaLnBrk="1" hangingPunct="1">
        <a:spcAft>
          <a:spcPts val="637"/>
        </a:spcAft>
        <a:defRPr sz="1469" b="1" i="0">
          <a:solidFill>
            <a:srgbClr val="003087"/>
          </a:solidFill>
          <a:latin typeface="Univers for KPMG" panose="020B0603020202020204" pitchFamily="34" charset="0"/>
          <a:cs typeface="Univers for KPMG" panose="020B0603020202020204" pitchFamily="34" charset="0"/>
        </a:defRPr>
      </a:lvl1pPr>
      <a:lvl2pPr marL="0" indent="0" eaLnBrk="1" hangingPunct="1">
        <a:spcAft>
          <a:spcPts val="588"/>
        </a:spcAft>
        <a:buFont typeface="Univers for KPMG"/>
        <a:buNone/>
        <a:defRPr sz="1469" b="0" i="0">
          <a:solidFill>
            <a:srgbClr val="003087"/>
          </a:solidFill>
          <a:latin typeface="Univers for KPMG Light" panose="020B0403020202020204" pitchFamily="34" charset="0"/>
          <a:cs typeface="Univers for KPMG" panose="020B0603020202020204" pitchFamily="34" charset="0"/>
        </a:defRPr>
      </a:lvl2pPr>
      <a:lvl3pPr marL="301551" indent="-277551" algn="l" eaLnBrk="1" hangingPunct="1">
        <a:spcAft>
          <a:spcPts val="588"/>
        </a:spcAft>
        <a:buFont typeface="Univers for KPMG Light" panose="020B0403020202020204" pitchFamily="34" charset="0"/>
        <a:buChar char="—"/>
        <a:defRPr sz="1469" b="0" i="0">
          <a:solidFill>
            <a:srgbClr val="003087"/>
          </a:solidFill>
          <a:latin typeface="Univers for KPMG Light" panose="020B0403020202020204" pitchFamily="34" charset="0"/>
          <a:cs typeface="Univers for KPMG" panose="020B0603020202020204" pitchFamily="34" charset="0"/>
        </a:defRPr>
      </a:lvl3pPr>
      <a:lvl4pPr marL="610874" indent="-223832" algn="l" eaLnBrk="1" hangingPunct="1">
        <a:spcAft>
          <a:spcPts val="588"/>
        </a:spcAft>
        <a:buFont typeface="Univers for KPMG Light" panose="020B0403020202020204" pitchFamily="34" charset="0"/>
        <a:buChar char="-"/>
        <a:defRPr sz="1469" b="0" i="0" baseline="0">
          <a:solidFill>
            <a:srgbClr val="003087"/>
          </a:solidFill>
          <a:latin typeface="Univers for KPMG Light" panose="020B0403020202020204" pitchFamily="34" charset="0"/>
          <a:cs typeface="Univers for KPMG" panose="020B0603020202020204" pitchFamily="34" charset="0"/>
        </a:defRPr>
      </a:lvl4pPr>
      <a:lvl5pPr marL="962165" indent="-277551" algn="l" eaLnBrk="1" hangingPunct="1">
        <a:spcAft>
          <a:spcPts val="588"/>
        </a:spcAft>
        <a:buFont typeface="Univers for KPMG Light" panose="020B0403020202020204" pitchFamily="34" charset="0"/>
        <a:buChar char="—"/>
        <a:defRPr lang="en-US" sz="1469" b="0" i="0" dirty="0" smtClean="0">
          <a:solidFill>
            <a:srgbClr val="003087"/>
          </a:solidFill>
          <a:latin typeface="Univers for KPMG Light" panose="020B0403020202020204" pitchFamily="34" charset="0"/>
          <a:cs typeface="Univers for KPMG" panose="020B0603020202020204" pitchFamily="34" charset="0"/>
        </a:defRPr>
      </a:lvl5pPr>
      <a:lvl6pPr marL="1231074" indent="-223832" algn="l" eaLnBrk="1" hangingPunct="1">
        <a:spcAft>
          <a:spcPts val="588"/>
        </a:spcAft>
        <a:buFont typeface="Univers for KPMG Light" panose="020B0403020202020204" pitchFamily="34" charset="0"/>
        <a:buChar char="-"/>
        <a:defRPr lang="en-US" sz="1469" b="0" i="0" baseline="0" dirty="0" smtClean="0">
          <a:solidFill>
            <a:srgbClr val="003087"/>
          </a:solidFill>
          <a:latin typeface="Univers for KPMG Light" panose="020B0403020202020204" pitchFamily="34" charset="0"/>
        </a:defRPr>
      </a:lvl6pPr>
      <a:lvl7pPr marL="1585474" indent="-277551" algn="l" eaLnBrk="1" hangingPunct="1">
        <a:spcAft>
          <a:spcPts val="588"/>
        </a:spcAft>
        <a:buFont typeface="Univers for KPMG Light" panose="020B0403020202020204" pitchFamily="34" charset="0"/>
        <a:buChar char="—"/>
        <a:defRPr lang="en-US" sz="1469" b="0" i="0" dirty="0" smtClean="0">
          <a:solidFill>
            <a:srgbClr val="003087"/>
          </a:solidFill>
          <a:latin typeface="Univers for KPMG Light" panose="020B0403020202020204" pitchFamily="34" charset="0"/>
        </a:defRPr>
      </a:lvl7pPr>
      <a:lvl8pPr marL="1846611" indent="-223832" algn="l" eaLnBrk="1" hangingPunct="1">
        <a:spcAft>
          <a:spcPts val="588"/>
        </a:spcAft>
        <a:buFont typeface="Univers for KPMG Light" panose="020B0403020202020204" pitchFamily="34" charset="0"/>
        <a:buChar char="-"/>
        <a:defRPr lang="en-US" sz="1469" b="0" i="0" baseline="0" dirty="0" smtClean="0">
          <a:solidFill>
            <a:srgbClr val="003087"/>
          </a:solidFill>
          <a:latin typeface="Univers for KPMG Light" panose="020B0403020202020204" pitchFamily="34" charset="0"/>
        </a:defRPr>
      </a:lvl8pPr>
    </p:bodyStyle>
    <p:otherStyle/>
  </p:txStyles>
  <p:extLst>
    <p:ext uri="{27BBF7A9-308A-43DC-89C8-2F10F3537804}">
      <p15:sldGuideLst xmlns:p15="http://schemas.microsoft.com/office/powerpoint/2012/main">
        <p15:guide id="1" orient="horz" pos="720">
          <p15:clr>
            <a:srgbClr val="F26B43"/>
          </p15:clr>
        </p15:guide>
        <p15:guide id="2" pos="572">
          <p15:clr>
            <a:srgbClr val="F26B43"/>
          </p15:clr>
        </p15:guide>
        <p15:guide id="3" pos="6240">
          <p15:clr>
            <a:srgbClr val="F26B43"/>
          </p15:clr>
        </p15:guide>
        <p15:guide id="4" orient="horz" pos="432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4272">
          <p15:clr>
            <a:srgbClr val="F26B43"/>
          </p15:clr>
        </p15:guide>
        <p15:guide id="7" pos="3328">
          <p15:clr>
            <a:srgbClr val="F26B43"/>
          </p15:clr>
        </p15:guide>
        <p15:guide id="8" pos="3484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0373657"/>
              </p:ext>
            </p:extLst>
          </p:nvPr>
        </p:nvGraphicFramePr>
        <p:xfrm>
          <a:off x="2" y="0"/>
          <a:ext cx="215978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215978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2" y="0"/>
            <a:ext cx="215978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750" b="0" i="0" baseline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9" name="Picture 108"/>
          <p:cNvPicPr>
            <a:picLocks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233257" y="6468512"/>
            <a:ext cx="2889060" cy="26923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5" name="Straight Connector 104"/>
          <p:cNvCxnSpPr/>
          <p:nvPr/>
        </p:nvCxnSpPr>
        <p:spPr bwMode="ltGray">
          <a:xfrm flipV="1">
            <a:off x="469537" y="943038"/>
            <a:ext cx="11469712" cy="17939"/>
          </a:xfrm>
          <a:prstGeom prst="line">
            <a:avLst/>
          </a:prstGeom>
          <a:noFill/>
          <a:ln w="6350" cap="flat" cmpd="sng" algn="ctr">
            <a:solidFill>
              <a:srgbClr val="A5A5A5"/>
            </a:solidFill>
            <a:prstDash val="solid"/>
            <a:miter lim="800000"/>
          </a:ln>
          <a:effectLst/>
        </p:spPr>
      </p:cxnSp>
      <p:sp>
        <p:nvSpPr>
          <p:cNvPr id="114" name="Slide Number"/>
          <p:cNvSpPr txBox="1">
            <a:spLocks/>
          </p:cNvSpPr>
          <p:nvPr/>
        </p:nvSpPr>
        <p:spPr bwMode="auto">
          <a:xfrm>
            <a:off x="11836916" y="6598956"/>
            <a:ext cx="121828" cy="12246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796" baseline="0" smtClean="0">
                <a:solidFill>
                  <a:schemeClr val="tx1"/>
                </a:solidFill>
                <a:latin typeface="+mn-lt"/>
              </a:rPr>
              <a:pPr algn="r"/>
              <a:t>‹#›</a:t>
            </a:fld>
            <a:endParaRPr lang="en-US" sz="796" baseline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1450681" y="2318824"/>
            <a:ext cx="1349728" cy="749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87" baseline="0">
                <a:solidFill>
                  <a:srgbClr val="808080"/>
                </a:solidFill>
                <a:latin typeface="+mn-lt"/>
                <a:ea typeface="+mn-ea"/>
              </a:rPr>
              <a:t>Last Modified 9/1/2021 9:10 AM Arab Standard Time</a:t>
            </a:r>
            <a:endParaRPr lang="en-US" sz="1298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534837" y="4536804"/>
            <a:ext cx="1181414" cy="749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487" baseline="0">
                <a:solidFill>
                  <a:srgbClr val="808080"/>
                </a:solidFill>
                <a:latin typeface="+mn-lt"/>
                <a:ea typeface="+mn-ea"/>
              </a:rPr>
              <a:t>Printed 29/12/2019 07:18 Arab Standard Time</a:t>
            </a:r>
            <a:endParaRPr lang="en-US" sz="1298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65414" y="300917"/>
            <a:ext cx="11469712" cy="5706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33259" y="9525"/>
            <a:ext cx="527388" cy="1714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114" cap="all" baseline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33259" y="594712"/>
            <a:ext cx="11725485" cy="195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273" baseline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233258" y="6132775"/>
            <a:ext cx="11725485" cy="122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75782" indent="-75782">
              <a:defRPr/>
            </a:pPr>
            <a:r>
              <a:rPr lang="en-US" sz="796" baseline="0">
                <a:solidFill>
                  <a:schemeClr val="tx1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3300308" y="6614619"/>
            <a:ext cx="8291616" cy="122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386490" indent="-386490" defTabSz="726814">
              <a:tabLst>
                <a:tab pos="511605" algn="l"/>
              </a:tabLst>
            </a:pPr>
            <a:r>
              <a:rPr lang="en-US" sz="796" baseline="0">
                <a:solidFill>
                  <a:schemeClr val="tx1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6" y="2094109"/>
            <a:ext cx="5853024" cy="409795"/>
            <a:chOff x="915" y="777"/>
            <a:chExt cx="2686" cy="25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77"/>
              <a:ext cx="2686" cy="2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273" b="1" baseline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273" baseline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11255489" y="305676"/>
            <a:ext cx="612776" cy="984251"/>
            <a:chOff x="4936" y="176"/>
            <a:chExt cx="386" cy="620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26" cy="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65">
                <a:latin typeface="+mn-lt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26" cy="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65">
                <a:latin typeface="+mn-lt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26" cy="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65">
                <a:latin typeface="+mn-lt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26" cy="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65">
                <a:latin typeface="+mn-lt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10947511" y="305675"/>
            <a:ext cx="920751" cy="692152"/>
            <a:chOff x="4750" y="176"/>
            <a:chExt cx="580" cy="436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65">
                <a:latin typeface="+mn-lt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65">
                <a:latin typeface="+mn-lt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65">
                <a:latin typeface="+mn-lt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26" cy="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26" cy="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26" cy="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auto">
          <a:xfrm>
            <a:off x="11188903" y="305675"/>
            <a:ext cx="679748" cy="1306516"/>
            <a:chOff x="7875175" y="286625"/>
            <a:chExt cx="679748" cy="1306516"/>
          </a:xfrm>
        </p:grpSpPr>
        <p:grpSp>
          <p:nvGrpSpPr>
            <p:cNvPr id="80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98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  <p:sp>
            <p:nvSpPr>
              <p:cNvPr id="99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</p:grpSp>
        <p:grpSp>
          <p:nvGrpSpPr>
            <p:cNvPr id="81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96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  <p:sp>
            <p:nvSpPr>
              <p:cNvPr id="97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</p:grpSp>
        <p:grpSp>
          <p:nvGrpSpPr>
            <p:cNvPr id="82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94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  <p:sp>
            <p:nvSpPr>
              <p:cNvPr id="95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</p:grpSp>
        <p:sp>
          <p:nvSpPr>
            <p:cNvPr id="83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359073" cy="1468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84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359073" cy="1468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85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359073" cy="1468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86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359073" cy="1468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87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359073" cy="1468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grpSp>
          <p:nvGrpSpPr>
            <p:cNvPr id="88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2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  <p:sp>
            <p:nvSpPr>
              <p:cNvPr id="93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</p:grpSp>
        <p:grpSp>
          <p:nvGrpSpPr>
            <p:cNvPr id="89" name="MoonLegend1"/>
            <p:cNvGrpSpPr>
              <a:grpSpLocks noChangeAspect="1"/>
            </p:cNvGrpSpPr>
            <p:nvPr userDrawn="1">
              <p:custDataLst>
                <p:tags r:id="rId13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0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  <p:sp>
            <p:nvSpPr>
              <p:cNvPr id="91" name="Arc 42" hidden="1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</p:grpSp>
      </p:grpSp>
      <p:grpSp>
        <p:nvGrpSpPr>
          <p:cNvPr id="100" name="Sticker" hidden="1"/>
          <p:cNvGrpSpPr/>
          <p:nvPr/>
        </p:nvGrpSpPr>
        <p:grpSpPr bwMode="auto">
          <a:xfrm>
            <a:off x="11252971" y="305674"/>
            <a:ext cx="705771" cy="174535"/>
            <a:chOff x="8035004" y="285750"/>
            <a:chExt cx="705771" cy="174536"/>
          </a:xfrm>
        </p:grpSpPr>
        <p:sp>
          <p:nvSpPr>
            <p:cNvPr id="101" name="StickerRectangle"/>
            <p:cNvSpPr>
              <a:spLocks noChangeArrowheads="1"/>
            </p:cNvSpPr>
            <p:nvPr/>
          </p:nvSpPr>
          <p:spPr bwMode="auto">
            <a:xfrm>
              <a:off x="8035004" y="285750"/>
              <a:ext cx="705771" cy="17453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712353">
                <a:buClr>
                  <a:schemeClr val="tx2"/>
                </a:buClr>
              </a:pPr>
              <a:r>
                <a:rPr lang="en-US" sz="954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2" name="AutoShape 31"/>
            <p:cNvCxnSpPr>
              <a:cxnSpLocks noChangeShapeType="1"/>
              <a:stCxn id="101" idx="2"/>
              <a:endCxn id="101" idx="4"/>
            </p:cNvCxnSpPr>
            <p:nvPr/>
          </p:nvCxnSpPr>
          <p:spPr bwMode="auto">
            <a:xfrm>
              <a:off x="8035004" y="285750"/>
              <a:ext cx="0" cy="17453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3" name="AutoShape 32"/>
            <p:cNvCxnSpPr>
              <a:cxnSpLocks noChangeShapeType="1"/>
              <a:stCxn id="101" idx="4"/>
              <a:endCxn id="101" idx="6"/>
            </p:cNvCxnSpPr>
            <p:nvPr/>
          </p:nvCxnSpPr>
          <p:spPr bwMode="auto">
            <a:xfrm>
              <a:off x="8035004" y="460286"/>
              <a:ext cx="70577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C261B5E3-DDF8-7314-C657-92C285EFE298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87820"/>
            <a:ext cx="3308350" cy="1066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7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assified as Public and Information can be shared with anyone needful of the Information.</a:t>
            </a:r>
          </a:p>
        </p:txBody>
      </p:sp>
    </p:spTree>
    <p:extLst>
      <p:ext uri="{BB962C8B-B14F-4D97-AF65-F5344CB8AC3E}">
        <p14:creationId xmlns:p14="http://schemas.microsoft.com/office/powerpoint/2010/main" val="10584164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</p:sldLayoutIdLst>
  <p:hf sldNum="0" hdr="0" ftr="0" dt="0"/>
  <p:txStyles>
    <p:titleStyle>
      <a:lvl1pPr algn="l" defTabSz="726814" rtl="0" eaLnBrk="1" fontAlgn="base" hangingPunct="1">
        <a:spcBef>
          <a:spcPct val="0"/>
        </a:spcBef>
        <a:spcAft>
          <a:spcPct val="0"/>
        </a:spcAft>
        <a:tabLst>
          <a:tab pos="219075" algn="l"/>
        </a:tabLst>
        <a:defRPr sz="2177" b="0" baseline="0">
          <a:solidFill>
            <a:schemeClr val="bg1">
              <a:lumMod val="50000"/>
            </a:schemeClr>
          </a:solidFill>
          <a:latin typeface="+mj-lt"/>
          <a:ea typeface="+mj-ea"/>
          <a:cs typeface="+mj-cs"/>
        </a:defRPr>
      </a:lvl1pPr>
      <a:lvl2pPr algn="l" defTabSz="726814" rtl="0" eaLnBrk="1" fontAlgn="base" hangingPunct="1">
        <a:spcBef>
          <a:spcPct val="0"/>
        </a:spcBef>
        <a:spcAft>
          <a:spcPct val="0"/>
        </a:spcAft>
        <a:defRPr sz="1543" b="1">
          <a:solidFill>
            <a:schemeClr val="tx2"/>
          </a:solidFill>
          <a:latin typeface="Arial" charset="0"/>
        </a:defRPr>
      </a:lvl2pPr>
      <a:lvl3pPr algn="l" defTabSz="726814" rtl="0" eaLnBrk="1" fontAlgn="base" hangingPunct="1">
        <a:spcBef>
          <a:spcPct val="0"/>
        </a:spcBef>
        <a:spcAft>
          <a:spcPct val="0"/>
        </a:spcAft>
        <a:defRPr sz="1543" b="1">
          <a:solidFill>
            <a:schemeClr val="tx2"/>
          </a:solidFill>
          <a:latin typeface="Arial" charset="0"/>
        </a:defRPr>
      </a:lvl3pPr>
      <a:lvl4pPr algn="l" defTabSz="726814" rtl="0" eaLnBrk="1" fontAlgn="base" hangingPunct="1">
        <a:spcBef>
          <a:spcPct val="0"/>
        </a:spcBef>
        <a:spcAft>
          <a:spcPct val="0"/>
        </a:spcAft>
        <a:defRPr sz="1543" b="1">
          <a:solidFill>
            <a:schemeClr val="tx2"/>
          </a:solidFill>
          <a:latin typeface="Arial" charset="0"/>
        </a:defRPr>
      </a:lvl4pPr>
      <a:lvl5pPr algn="l" defTabSz="726814" rtl="0" eaLnBrk="1" fontAlgn="base" hangingPunct="1">
        <a:spcBef>
          <a:spcPct val="0"/>
        </a:spcBef>
        <a:spcAft>
          <a:spcPct val="0"/>
        </a:spcAft>
        <a:defRPr sz="1543" b="1">
          <a:solidFill>
            <a:schemeClr val="tx2"/>
          </a:solidFill>
          <a:latin typeface="Arial" charset="0"/>
        </a:defRPr>
      </a:lvl5pPr>
      <a:lvl6pPr marL="371139" algn="l" defTabSz="726814" rtl="0" eaLnBrk="1" fontAlgn="base" hangingPunct="1">
        <a:spcBef>
          <a:spcPct val="0"/>
        </a:spcBef>
        <a:spcAft>
          <a:spcPct val="0"/>
        </a:spcAft>
        <a:defRPr sz="1543" b="1">
          <a:solidFill>
            <a:schemeClr val="tx2"/>
          </a:solidFill>
          <a:latin typeface="Arial" charset="0"/>
        </a:defRPr>
      </a:lvl6pPr>
      <a:lvl7pPr marL="742278" algn="l" defTabSz="726814" rtl="0" eaLnBrk="1" fontAlgn="base" hangingPunct="1">
        <a:spcBef>
          <a:spcPct val="0"/>
        </a:spcBef>
        <a:spcAft>
          <a:spcPct val="0"/>
        </a:spcAft>
        <a:defRPr sz="1543" b="1">
          <a:solidFill>
            <a:schemeClr val="tx2"/>
          </a:solidFill>
          <a:latin typeface="Arial" charset="0"/>
        </a:defRPr>
      </a:lvl7pPr>
      <a:lvl8pPr marL="1113417" algn="l" defTabSz="726814" rtl="0" eaLnBrk="1" fontAlgn="base" hangingPunct="1">
        <a:spcBef>
          <a:spcPct val="0"/>
        </a:spcBef>
        <a:spcAft>
          <a:spcPct val="0"/>
        </a:spcAft>
        <a:defRPr sz="1543" b="1">
          <a:solidFill>
            <a:schemeClr val="tx2"/>
          </a:solidFill>
          <a:latin typeface="Arial" charset="0"/>
        </a:defRPr>
      </a:lvl8pPr>
      <a:lvl9pPr marL="1484557" algn="l" defTabSz="726814" rtl="0" eaLnBrk="1" fontAlgn="base" hangingPunct="1">
        <a:spcBef>
          <a:spcPct val="0"/>
        </a:spcBef>
        <a:spcAft>
          <a:spcPct val="0"/>
        </a:spcAft>
        <a:defRPr sz="1543" b="1">
          <a:solidFill>
            <a:schemeClr val="tx2"/>
          </a:solidFill>
          <a:latin typeface="Arial" charset="0"/>
        </a:defRPr>
      </a:lvl9pPr>
    </p:titleStyle>
    <p:bodyStyle>
      <a:lvl1pPr marL="0" indent="0" algn="l" defTabSz="7268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273" baseline="0">
          <a:solidFill>
            <a:schemeClr val="tx1"/>
          </a:solidFill>
          <a:latin typeface="+mn-lt"/>
          <a:ea typeface="+mn-ea"/>
          <a:cs typeface="+mn-cs"/>
        </a:defRPr>
      </a:lvl1pPr>
      <a:lvl2pPr marL="152777" indent="-155930" algn="l" defTabSz="7268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73" baseline="0">
          <a:solidFill>
            <a:schemeClr val="tx1"/>
          </a:solidFill>
          <a:latin typeface="+mn-lt"/>
        </a:defRPr>
      </a:lvl2pPr>
      <a:lvl3pPr marL="363755" indent="-212632" algn="l" defTabSz="7268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73" baseline="0">
          <a:solidFill>
            <a:schemeClr val="tx1"/>
          </a:solidFill>
          <a:latin typeface="+mn-lt"/>
        </a:defRPr>
      </a:lvl3pPr>
      <a:lvl4pPr marL="487431" indent="-126290" algn="l" defTabSz="7268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73" baseline="0">
          <a:solidFill>
            <a:schemeClr val="tx1"/>
          </a:solidFill>
          <a:latin typeface="+mn-lt"/>
        </a:defRPr>
      </a:lvl4pPr>
      <a:lvl5pPr marL="596558" indent="-101851" algn="l" defTabSz="7268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73" baseline="0">
          <a:solidFill>
            <a:schemeClr val="tx1"/>
          </a:solidFill>
          <a:latin typeface="+mn-lt"/>
        </a:defRPr>
      </a:lvl5pPr>
      <a:lvl6pPr marL="608668" indent="-105672" algn="l" defTabSz="7268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98" baseline="0">
          <a:solidFill>
            <a:schemeClr val="tx1"/>
          </a:solidFill>
          <a:latin typeface="+mn-lt"/>
        </a:defRPr>
      </a:lvl6pPr>
      <a:lvl7pPr marL="608668" indent="-105672" algn="l" defTabSz="7268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98" baseline="0">
          <a:solidFill>
            <a:schemeClr val="tx1"/>
          </a:solidFill>
          <a:latin typeface="+mn-lt"/>
        </a:defRPr>
      </a:lvl7pPr>
      <a:lvl8pPr marL="608668" indent="-105672" algn="l" defTabSz="7268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98" baseline="0">
          <a:solidFill>
            <a:schemeClr val="tx1"/>
          </a:solidFill>
          <a:latin typeface="+mn-lt"/>
        </a:defRPr>
      </a:lvl8pPr>
      <a:lvl9pPr marL="608668" indent="-105672" algn="l" defTabSz="7268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98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42278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1pPr>
      <a:lvl2pPr marL="371139" algn="l" defTabSz="742278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2pPr>
      <a:lvl3pPr marL="742278" algn="l" defTabSz="742278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3pPr>
      <a:lvl4pPr marL="1113417" algn="l" defTabSz="742278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4pPr>
      <a:lvl5pPr marL="1484557" algn="l" defTabSz="742278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5pPr>
      <a:lvl6pPr marL="1855696" algn="l" defTabSz="742278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6pPr>
      <a:lvl7pPr marL="2226835" algn="l" defTabSz="742278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7pPr>
      <a:lvl8pPr marL="2597974" algn="l" defTabSz="742278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8pPr>
      <a:lvl9pPr marL="2969113" algn="l" defTabSz="742278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955479999"/>
              </p:ext>
            </p:extLst>
          </p:nvPr>
        </p:nvGraphicFramePr>
        <p:xfrm>
          <a:off x="2" y="0"/>
          <a:ext cx="215978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215978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"/>
            </p:custDataLst>
          </p:nvPr>
        </p:nvSpPr>
        <p:spPr bwMode="auto">
          <a:xfrm>
            <a:off x="2" y="0"/>
            <a:ext cx="215978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750" b="0" i="0" baseline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9" name="Picture 108"/>
          <p:cNvPicPr>
            <a:picLocks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233257" y="6468512"/>
            <a:ext cx="2889060" cy="26923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5" name="Straight Connector 104"/>
          <p:cNvCxnSpPr/>
          <p:nvPr/>
        </p:nvCxnSpPr>
        <p:spPr bwMode="ltGray">
          <a:xfrm flipV="1">
            <a:off x="469537" y="943038"/>
            <a:ext cx="11469712" cy="17939"/>
          </a:xfrm>
          <a:prstGeom prst="line">
            <a:avLst/>
          </a:prstGeom>
          <a:noFill/>
          <a:ln w="6350" cap="flat" cmpd="sng" algn="ctr">
            <a:solidFill>
              <a:srgbClr val="A5A5A5"/>
            </a:solidFill>
            <a:prstDash val="solid"/>
            <a:miter lim="800000"/>
          </a:ln>
          <a:effectLst/>
        </p:spPr>
      </p:cxnSp>
      <p:sp>
        <p:nvSpPr>
          <p:cNvPr id="114" name="Slide Number"/>
          <p:cNvSpPr txBox="1">
            <a:spLocks/>
          </p:cNvSpPr>
          <p:nvPr/>
        </p:nvSpPr>
        <p:spPr bwMode="auto">
          <a:xfrm>
            <a:off x="11836916" y="6598956"/>
            <a:ext cx="121828" cy="12246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796" baseline="0" smtClean="0">
                <a:solidFill>
                  <a:schemeClr val="tx1"/>
                </a:solidFill>
                <a:latin typeface="+mn-lt"/>
              </a:rPr>
              <a:pPr algn="r"/>
              <a:t>‹#›</a:t>
            </a:fld>
            <a:endParaRPr lang="en-US" sz="796" baseline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1450681" y="2318824"/>
            <a:ext cx="1349728" cy="749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87" baseline="0">
                <a:solidFill>
                  <a:srgbClr val="808080"/>
                </a:solidFill>
                <a:latin typeface="+mn-lt"/>
                <a:ea typeface="+mn-ea"/>
              </a:rPr>
              <a:t>Last Modified 9/1/2021 9:10 AM Arab Standard Time</a:t>
            </a:r>
            <a:endParaRPr lang="en-US" sz="1298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534837" y="4536804"/>
            <a:ext cx="1181414" cy="749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487" baseline="0">
                <a:solidFill>
                  <a:srgbClr val="808080"/>
                </a:solidFill>
                <a:latin typeface="+mn-lt"/>
                <a:ea typeface="+mn-ea"/>
              </a:rPr>
              <a:t>Printed 29/12/2019 07:18 Arab Standard Time</a:t>
            </a:r>
            <a:endParaRPr lang="en-US" sz="1298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65414" y="300917"/>
            <a:ext cx="11469712" cy="5706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33259" y="9525"/>
            <a:ext cx="527388" cy="1714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114" cap="all" baseline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33259" y="594712"/>
            <a:ext cx="11725485" cy="195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273" baseline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233258" y="6132775"/>
            <a:ext cx="11725485" cy="122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75782" indent="-75782">
              <a:defRPr/>
            </a:pPr>
            <a:r>
              <a:rPr lang="en-US" sz="796" baseline="0">
                <a:solidFill>
                  <a:schemeClr val="tx1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3300308" y="6614619"/>
            <a:ext cx="8291616" cy="122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386490" indent="-386490" defTabSz="726814">
              <a:tabLst>
                <a:tab pos="511605" algn="l"/>
              </a:tabLst>
            </a:pPr>
            <a:r>
              <a:rPr lang="en-US" sz="796" baseline="0">
                <a:solidFill>
                  <a:schemeClr val="tx1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6" y="2094109"/>
            <a:ext cx="5853024" cy="409795"/>
            <a:chOff x="915" y="777"/>
            <a:chExt cx="2686" cy="25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77"/>
              <a:ext cx="2686" cy="2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273" b="1" baseline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273" baseline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11255489" y="305676"/>
            <a:ext cx="612776" cy="984251"/>
            <a:chOff x="4936" y="176"/>
            <a:chExt cx="386" cy="620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26" cy="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65">
                <a:latin typeface="+mn-lt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26" cy="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65">
                <a:latin typeface="+mn-lt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26" cy="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65">
                <a:latin typeface="+mn-lt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26" cy="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65">
                <a:latin typeface="+mn-lt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10947511" y="305675"/>
            <a:ext cx="920751" cy="692152"/>
            <a:chOff x="4750" y="176"/>
            <a:chExt cx="580" cy="436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65">
                <a:latin typeface="+mn-lt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65">
                <a:latin typeface="+mn-lt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65">
                <a:latin typeface="+mn-lt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26" cy="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26" cy="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26" cy="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auto">
          <a:xfrm>
            <a:off x="11188903" y="305675"/>
            <a:ext cx="679748" cy="1306516"/>
            <a:chOff x="7875175" y="286625"/>
            <a:chExt cx="679748" cy="1306516"/>
          </a:xfrm>
        </p:grpSpPr>
        <p:grpSp>
          <p:nvGrpSpPr>
            <p:cNvPr id="80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98" name="Oval 4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  <p:sp>
            <p:nvSpPr>
              <p:cNvPr id="99" name="Arc 42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</p:grpSp>
        <p:grpSp>
          <p:nvGrpSpPr>
            <p:cNvPr id="81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96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  <p:sp>
            <p:nvSpPr>
              <p:cNvPr id="97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</p:grpSp>
        <p:grpSp>
          <p:nvGrpSpPr>
            <p:cNvPr id="82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94" name="Oval 50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  <p:sp>
            <p:nvSpPr>
              <p:cNvPr id="95" name="Oval 5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</p:grpSp>
        <p:sp>
          <p:nvSpPr>
            <p:cNvPr id="83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359073" cy="1468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84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359073" cy="1468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85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359073" cy="1468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86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359073" cy="1468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sp>
          <p:nvSpPr>
            <p:cNvPr id="87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359073" cy="1468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353">
                <a:buClr>
                  <a:schemeClr val="tx2"/>
                </a:buClr>
              </a:pPr>
              <a:r>
                <a:rPr lang="en-US" sz="954">
                  <a:latin typeface="+mn-lt"/>
                </a:rPr>
                <a:t>Legend</a:t>
              </a:r>
            </a:p>
          </p:txBody>
        </p:sp>
        <p:grpSp>
          <p:nvGrpSpPr>
            <p:cNvPr id="88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2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  <p:sp>
            <p:nvSpPr>
              <p:cNvPr id="93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</p:grpSp>
        <p:grpSp>
          <p:nvGrpSpPr>
            <p:cNvPr id="89" name="MoonLegend1"/>
            <p:cNvGrpSpPr>
              <a:grpSpLocks noChangeAspect="1"/>
            </p:cNvGrpSpPr>
            <p:nvPr userDrawn="1">
              <p:custDataLst>
                <p:tags r:id="rId14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0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  <p:sp>
            <p:nvSpPr>
              <p:cNvPr id="91" name="Arc 42" hidden="1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65">
                  <a:latin typeface="+mn-lt"/>
                </a:endParaRPr>
              </a:p>
            </p:txBody>
          </p:sp>
        </p:grpSp>
      </p:grpSp>
      <p:grpSp>
        <p:nvGrpSpPr>
          <p:cNvPr id="100" name="Sticker" hidden="1"/>
          <p:cNvGrpSpPr/>
          <p:nvPr/>
        </p:nvGrpSpPr>
        <p:grpSpPr bwMode="auto">
          <a:xfrm>
            <a:off x="11252971" y="305674"/>
            <a:ext cx="705771" cy="174535"/>
            <a:chOff x="8035004" y="285750"/>
            <a:chExt cx="705771" cy="174536"/>
          </a:xfrm>
        </p:grpSpPr>
        <p:sp>
          <p:nvSpPr>
            <p:cNvPr id="101" name="StickerRectangle"/>
            <p:cNvSpPr>
              <a:spLocks noChangeArrowheads="1"/>
            </p:cNvSpPr>
            <p:nvPr/>
          </p:nvSpPr>
          <p:spPr bwMode="auto">
            <a:xfrm>
              <a:off x="8035004" y="285750"/>
              <a:ext cx="705771" cy="17453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712353">
                <a:buClr>
                  <a:schemeClr val="tx2"/>
                </a:buClr>
              </a:pPr>
              <a:r>
                <a:rPr lang="en-US" sz="954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2" name="AutoShape 31"/>
            <p:cNvCxnSpPr>
              <a:cxnSpLocks noChangeShapeType="1"/>
              <a:stCxn id="101" idx="2"/>
              <a:endCxn id="101" idx="4"/>
            </p:cNvCxnSpPr>
            <p:nvPr/>
          </p:nvCxnSpPr>
          <p:spPr bwMode="auto">
            <a:xfrm>
              <a:off x="8035004" y="285750"/>
              <a:ext cx="0" cy="17453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3" name="AutoShape 32"/>
            <p:cNvCxnSpPr>
              <a:cxnSpLocks noChangeShapeType="1"/>
              <a:stCxn id="101" idx="4"/>
              <a:endCxn id="101" idx="6"/>
            </p:cNvCxnSpPr>
            <p:nvPr/>
          </p:nvCxnSpPr>
          <p:spPr bwMode="auto">
            <a:xfrm>
              <a:off x="8035004" y="460286"/>
              <a:ext cx="70577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A2A85A47-8FDA-56E0-3E21-A0546F982176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87820"/>
            <a:ext cx="3308350" cy="1066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7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assified as Public and Information can be shared with anyone needful of the Information.</a:t>
            </a:r>
          </a:p>
        </p:txBody>
      </p:sp>
    </p:spTree>
    <p:extLst>
      <p:ext uri="{BB962C8B-B14F-4D97-AF65-F5344CB8AC3E}">
        <p14:creationId xmlns:p14="http://schemas.microsoft.com/office/powerpoint/2010/main" val="1353000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</p:sldLayoutIdLst>
  <p:hf sldNum="0" hdr="0" ftr="0" dt="0"/>
  <p:txStyles>
    <p:titleStyle>
      <a:lvl1pPr algn="l" defTabSz="726814" rtl="0" eaLnBrk="1" fontAlgn="base" hangingPunct="1">
        <a:spcBef>
          <a:spcPct val="0"/>
        </a:spcBef>
        <a:spcAft>
          <a:spcPct val="0"/>
        </a:spcAft>
        <a:tabLst>
          <a:tab pos="219075" algn="l"/>
        </a:tabLst>
        <a:defRPr sz="2177" b="0" baseline="0">
          <a:solidFill>
            <a:schemeClr val="bg1">
              <a:lumMod val="50000"/>
            </a:schemeClr>
          </a:solidFill>
          <a:latin typeface="+mj-lt"/>
          <a:ea typeface="+mj-ea"/>
          <a:cs typeface="+mj-cs"/>
        </a:defRPr>
      </a:lvl1pPr>
      <a:lvl2pPr algn="l" defTabSz="726814" rtl="0" eaLnBrk="1" fontAlgn="base" hangingPunct="1">
        <a:spcBef>
          <a:spcPct val="0"/>
        </a:spcBef>
        <a:spcAft>
          <a:spcPct val="0"/>
        </a:spcAft>
        <a:defRPr sz="1543" b="1">
          <a:solidFill>
            <a:schemeClr val="tx2"/>
          </a:solidFill>
          <a:latin typeface="Arial" charset="0"/>
        </a:defRPr>
      </a:lvl2pPr>
      <a:lvl3pPr algn="l" defTabSz="726814" rtl="0" eaLnBrk="1" fontAlgn="base" hangingPunct="1">
        <a:spcBef>
          <a:spcPct val="0"/>
        </a:spcBef>
        <a:spcAft>
          <a:spcPct val="0"/>
        </a:spcAft>
        <a:defRPr sz="1543" b="1">
          <a:solidFill>
            <a:schemeClr val="tx2"/>
          </a:solidFill>
          <a:latin typeface="Arial" charset="0"/>
        </a:defRPr>
      </a:lvl3pPr>
      <a:lvl4pPr algn="l" defTabSz="726814" rtl="0" eaLnBrk="1" fontAlgn="base" hangingPunct="1">
        <a:spcBef>
          <a:spcPct val="0"/>
        </a:spcBef>
        <a:spcAft>
          <a:spcPct val="0"/>
        </a:spcAft>
        <a:defRPr sz="1543" b="1">
          <a:solidFill>
            <a:schemeClr val="tx2"/>
          </a:solidFill>
          <a:latin typeface="Arial" charset="0"/>
        </a:defRPr>
      </a:lvl4pPr>
      <a:lvl5pPr algn="l" defTabSz="726814" rtl="0" eaLnBrk="1" fontAlgn="base" hangingPunct="1">
        <a:spcBef>
          <a:spcPct val="0"/>
        </a:spcBef>
        <a:spcAft>
          <a:spcPct val="0"/>
        </a:spcAft>
        <a:defRPr sz="1543" b="1">
          <a:solidFill>
            <a:schemeClr val="tx2"/>
          </a:solidFill>
          <a:latin typeface="Arial" charset="0"/>
        </a:defRPr>
      </a:lvl5pPr>
      <a:lvl6pPr marL="371139" algn="l" defTabSz="726814" rtl="0" eaLnBrk="1" fontAlgn="base" hangingPunct="1">
        <a:spcBef>
          <a:spcPct val="0"/>
        </a:spcBef>
        <a:spcAft>
          <a:spcPct val="0"/>
        </a:spcAft>
        <a:defRPr sz="1543" b="1">
          <a:solidFill>
            <a:schemeClr val="tx2"/>
          </a:solidFill>
          <a:latin typeface="Arial" charset="0"/>
        </a:defRPr>
      </a:lvl6pPr>
      <a:lvl7pPr marL="742278" algn="l" defTabSz="726814" rtl="0" eaLnBrk="1" fontAlgn="base" hangingPunct="1">
        <a:spcBef>
          <a:spcPct val="0"/>
        </a:spcBef>
        <a:spcAft>
          <a:spcPct val="0"/>
        </a:spcAft>
        <a:defRPr sz="1543" b="1">
          <a:solidFill>
            <a:schemeClr val="tx2"/>
          </a:solidFill>
          <a:latin typeface="Arial" charset="0"/>
        </a:defRPr>
      </a:lvl7pPr>
      <a:lvl8pPr marL="1113417" algn="l" defTabSz="726814" rtl="0" eaLnBrk="1" fontAlgn="base" hangingPunct="1">
        <a:spcBef>
          <a:spcPct val="0"/>
        </a:spcBef>
        <a:spcAft>
          <a:spcPct val="0"/>
        </a:spcAft>
        <a:defRPr sz="1543" b="1">
          <a:solidFill>
            <a:schemeClr val="tx2"/>
          </a:solidFill>
          <a:latin typeface="Arial" charset="0"/>
        </a:defRPr>
      </a:lvl8pPr>
      <a:lvl9pPr marL="1484557" algn="l" defTabSz="726814" rtl="0" eaLnBrk="1" fontAlgn="base" hangingPunct="1">
        <a:spcBef>
          <a:spcPct val="0"/>
        </a:spcBef>
        <a:spcAft>
          <a:spcPct val="0"/>
        </a:spcAft>
        <a:defRPr sz="1543" b="1">
          <a:solidFill>
            <a:schemeClr val="tx2"/>
          </a:solidFill>
          <a:latin typeface="Arial" charset="0"/>
        </a:defRPr>
      </a:lvl9pPr>
    </p:titleStyle>
    <p:bodyStyle>
      <a:lvl1pPr marL="0" indent="0" algn="l" defTabSz="7268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273" baseline="0">
          <a:solidFill>
            <a:schemeClr val="tx1"/>
          </a:solidFill>
          <a:latin typeface="+mn-lt"/>
          <a:ea typeface="+mn-ea"/>
          <a:cs typeface="+mn-cs"/>
        </a:defRPr>
      </a:lvl1pPr>
      <a:lvl2pPr marL="152777" indent="-155930" algn="l" defTabSz="7268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73" baseline="0">
          <a:solidFill>
            <a:schemeClr val="tx1"/>
          </a:solidFill>
          <a:latin typeface="+mn-lt"/>
        </a:defRPr>
      </a:lvl2pPr>
      <a:lvl3pPr marL="363755" indent="-212632" algn="l" defTabSz="7268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73" baseline="0">
          <a:solidFill>
            <a:schemeClr val="tx1"/>
          </a:solidFill>
          <a:latin typeface="+mn-lt"/>
        </a:defRPr>
      </a:lvl3pPr>
      <a:lvl4pPr marL="487431" indent="-126290" algn="l" defTabSz="7268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73" baseline="0">
          <a:solidFill>
            <a:schemeClr val="tx1"/>
          </a:solidFill>
          <a:latin typeface="+mn-lt"/>
        </a:defRPr>
      </a:lvl4pPr>
      <a:lvl5pPr marL="596558" indent="-101851" algn="l" defTabSz="7268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73" baseline="0">
          <a:solidFill>
            <a:schemeClr val="tx1"/>
          </a:solidFill>
          <a:latin typeface="+mn-lt"/>
        </a:defRPr>
      </a:lvl5pPr>
      <a:lvl6pPr marL="608668" indent="-105672" algn="l" defTabSz="7268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98" baseline="0">
          <a:solidFill>
            <a:schemeClr val="tx1"/>
          </a:solidFill>
          <a:latin typeface="+mn-lt"/>
        </a:defRPr>
      </a:lvl6pPr>
      <a:lvl7pPr marL="608668" indent="-105672" algn="l" defTabSz="7268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98" baseline="0">
          <a:solidFill>
            <a:schemeClr val="tx1"/>
          </a:solidFill>
          <a:latin typeface="+mn-lt"/>
        </a:defRPr>
      </a:lvl7pPr>
      <a:lvl8pPr marL="608668" indent="-105672" algn="l" defTabSz="7268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98" baseline="0">
          <a:solidFill>
            <a:schemeClr val="tx1"/>
          </a:solidFill>
          <a:latin typeface="+mn-lt"/>
        </a:defRPr>
      </a:lvl8pPr>
      <a:lvl9pPr marL="608668" indent="-105672" algn="l" defTabSz="7268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98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42278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1pPr>
      <a:lvl2pPr marL="371139" algn="l" defTabSz="742278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2pPr>
      <a:lvl3pPr marL="742278" algn="l" defTabSz="742278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3pPr>
      <a:lvl4pPr marL="1113417" algn="l" defTabSz="742278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4pPr>
      <a:lvl5pPr marL="1484557" algn="l" defTabSz="742278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5pPr>
      <a:lvl6pPr marL="1855696" algn="l" defTabSz="742278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6pPr>
      <a:lvl7pPr marL="2226835" algn="l" defTabSz="742278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7pPr>
      <a:lvl8pPr marL="2597974" algn="l" defTabSz="742278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8pPr>
      <a:lvl9pPr marL="2969113" algn="l" defTabSz="742278" rtl="0" eaLnBrk="1" latinLnBrk="0" hangingPunct="1">
        <a:defRPr sz="146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424674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413" imgH="416" progId="TCLayout.ActiveDocument.1">
                  <p:embed/>
                </p:oleObj>
              </mc:Choice>
              <mc:Fallback>
                <p:oleObj name="think-cell Slide" r:id="rId3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553972" y="6190849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 rtl="0"/>
            <a:r>
              <a:rPr lang="en-US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/>
        </p:nvSpPr>
        <p:spPr>
          <a:xfrm>
            <a:off x="554736" y="1198743"/>
            <a:ext cx="344646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 lvl="0"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 rtl="0"/>
            <a:r>
              <a:rPr lang="en-US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5987738" y="2170800"/>
            <a:ext cx="3049253" cy="49244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/>
              <a:t>Above Chart Exhibit Title</a:t>
            </a:r>
            <a:br>
              <a:rPr lang="en-US"/>
            </a:br>
            <a:r>
              <a:rPr lang="en-US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 flipH="1">
            <a:off x="554736" y="1646241"/>
            <a:ext cx="4762018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54" name="LegendLines" hidden="1">
            <a:extLst>
              <a:ext uri="{FF2B5EF4-FFF2-40B4-BE49-F238E27FC236}">
                <a16:creationId xmlns:a16="http://schemas.microsoft.com/office/drawing/2014/main" id="{E5A3A058-6B69-4312-AF71-61B1CC1967FA}"/>
              </a:ext>
            </a:extLst>
          </p:cNvPr>
          <p:cNvGrpSpPr/>
          <p:nvPr/>
        </p:nvGrpSpPr>
        <p:grpSpPr>
          <a:xfrm>
            <a:off x="10398782" y="3150223"/>
            <a:ext cx="1251160" cy="958286"/>
            <a:chOff x="10162879" y="3243772"/>
            <a:chExt cx="1251160" cy="958286"/>
          </a:xfrm>
        </p:grpSpPr>
        <p:sp>
          <p:nvSpPr>
            <p:cNvPr id="155" name="Legend1" hidden="1">
              <a:extLst>
                <a:ext uri="{FF2B5EF4-FFF2-40B4-BE49-F238E27FC236}">
                  <a16:creationId xmlns:a16="http://schemas.microsoft.com/office/drawing/2014/main" id="{B1483347-D2CB-45E0-9695-BBA35B33DCFC}"/>
                </a:ext>
              </a:extLst>
            </p:cNvPr>
            <p:cNvSpPr txBox="1"/>
            <p:nvPr/>
          </p:nvSpPr>
          <p:spPr>
            <a:xfrm>
              <a:off x="10886522" y="324377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6" name="Legend2" hidden="1">
              <a:extLst>
                <a:ext uri="{FF2B5EF4-FFF2-40B4-BE49-F238E27FC236}">
                  <a16:creationId xmlns:a16="http://schemas.microsoft.com/office/drawing/2014/main" id="{74639385-1E48-4018-A994-9AC18FC989D1}"/>
                </a:ext>
              </a:extLst>
            </p:cNvPr>
            <p:cNvSpPr txBox="1"/>
            <p:nvPr/>
          </p:nvSpPr>
          <p:spPr>
            <a:xfrm>
              <a:off x="10886522" y="3615193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7" name="Legend3" hidden="1">
              <a:extLst>
                <a:ext uri="{FF2B5EF4-FFF2-40B4-BE49-F238E27FC236}">
                  <a16:creationId xmlns:a16="http://schemas.microsoft.com/office/drawing/2014/main" id="{7B527157-F5B7-4231-9280-9C00C99F750A}"/>
                </a:ext>
              </a:extLst>
            </p:cNvPr>
            <p:cNvSpPr txBox="1"/>
            <p:nvPr/>
          </p:nvSpPr>
          <p:spPr>
            <a:xfrm>
              <a:off x="10886522" y="398661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8" name="LineLegend3" hidden="1">
              <a:extLst>
                <a:ext uri="{FF2B5EF4-FFF2-40B4-BE49-F238E27FC236}">
                  <a16:creationId xmlns:a16="http://schemas.microsoft.com/office/drawing/2014/main" id="{CFC4A46B-4B4C-4E18-8C29-56ED1CA8C9F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en-US" sz="1400" baseline="0">
                <a:ea typeface="+mn-ea"/>
              </a:endParaRPr>
            </a:p>
          </p:txBody>
        </p:sp>
        <p:sp>
          <p:nvSpPr>
            <p:cNvPr id="159" name="LineLegend2" hidden="1">
              <a:extLst>
                <a:ext uri="{FF2B5EF4-FFF2-40B4-BE49-F238E27FC236}">
                  <a16:creationId xmlns:a16="http://schemas.microsoft.com/office/drawing/2014/main" id="{299E6BB7-7600-46F2-A0DA-ADCB38112B6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en-US" sz="1400" baseline="0">
                <a:ea typeface="+mn-ea"/>
              </a:endParaRPr>
            </a:p>
          </p:txBody>
        </p:sp>
        <p:sp>
          <p:nvSpPr>
            <p:cNvPr id="160" name="LineLegend1" hidden="1">
              <a:extLst>
                <a:ext uri="{FF2B5EF4-FFF2-40B4-BE49-F238E27FC236}">
                  <a16:creationId xmlns:a16="http://schemas.microsoft.com/office/drawing/2014/main" id="{3DAD72C9-4400-4CA3-91AC-3D74AFB20BC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en-US" sz="1400" baseline="0">
                <a:ea typeface="+mn-ea"/>
              </a:endParaRPr>
            </a:p>
          </p:txBody>
        </p:sp>
      </p:grpSp>
      <p:grpSp>
        <p:nvGrpSpPr>
          <p:cNvPr id="161" name="LegendMoons" hidden="1">
            <a:extLst>
              <a:ext uri="{FF2B5EF4-FFF2-40B4-BE49-F238E27FC236}">
                <a16:creationId xmlns:a16="http://schemas.microsoft.com/office/drawing/2014/main" id="{B0D16645-DEE1-4F0A-B841-F0821AA8B01C}"/>
              </a:ext>
            </a:extLst>
          </p:cNvPr>
          <p:cNvGrpSpPr/>
          <p:nvPr/>
        </p:nvGrpSpPr>
        <p:grpSpPr>
          <a:xfrm>
            <a:off x="10769793" y="1145373"/>
            <a:ext cx="880149" cy="1731859"/>
            <a:chOff x="7723680" y="1702457"/>
            <a:chExt cx="880149" cy="1731859"/>
          </a:xfrm>
        </p:grpSpPr>
        <p:sp>
          <p:nvSpPr>
            <p:cNvPr id="162" name="Legend1" hidden="1">
              <a:extLst>
                <a:ext uri="{FF2B5EF4-FFF2-40B4-BE49-F238E27FC236}">
                  <a16:creationId xmlns:a16="http://schemas.microsoft.com/office/drawing/2014/main" id="{D5B6618B-0438-43C0-8BA2-9D42FD270E47}"/>
                </a:ext>
              </a:extLst>
            </p:cNvPr>
            <p:cNvSpPr txBox="1"/>
            <p:nvPr/>
          </p:nvSpPr>
          <p:spPr>
            <a:xfrm>
              <a:off x="8076312" y="1709816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3" name="Legend2" hidden="1">
              <a:extLst>
                <a:ext uri="{FF2B5EF4-FFF2-40B4-BE49-F238E27FC236}">
                  <a16:creationId xmlns:a16="http://schemas.microsoft.com/office/drawing/2014/main" id="{C6D9E259-1A28-4D00-BB3C-19F46D2232FD}"/>
                </a:ext>
              </a:extLst>
            </p:cNvPr>
            <p:cNvSpPr txBox="1"/>
            <p:nvPr/>
          </p:nvSpPr>
          <p:spPr>
            <a:xfrm>
              <a:off x="8076312" y="2085275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4" name="Legend3" hidden="1">
              <a:extLst>
                <a:ext uri="{FF2B5EF4-FFF2-40B4-BE49-F238E27FC236}">
                  <a16:creationId xmlns:a16="http://schemas.microsoft.com/office/drawing/2014/main" id="{3189FEC7-CC51-4CAE-A6C6-FEA94E439F34}"/>
                </a:ext>
              </a:extLst>
            </p:cNvPr>
            <p:cNvSpPr txBox="1"/>
            <p:nvPr/>
          </p:nvSpPr>
          <p:spPr>
            <a:xfrm>
              <a:off x="8076312" y="246073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5" name="Legend4" hidden="1">
              <a:extLst>
                <a:ext uri="{FF2B5EF4-FFF2-40B4-BE49-F238E27FC236}">
                  <a16:creationId xmlns:a16="http://schemas.microsoft.com/office/drawing/2014/main" id="{21BBB0F4-4F3A-484D-8E0B-EBB347B64AFE}"/>
                </a:ext>
              </a:extLst>
            </p:cNvPr>
            <p:cNvSpPr txBox="1"/>
            <p:nvPr/>
          </p:nvSpPr>
          <p:spPr>
            <a:xfrm>
              <a:off x="8076312" y="2836193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6" name="Legend5" hidden="1">
              <a:extLst>
                <a:ext uri="{FF2B5EF4-FFF2-40B4-BE49-F238E27FC236}">
                  <a16:creationId xmlns:a16="http://schemas.microsoft.com/office/drawing/2014/main" id="{771E2F80-1473-47C1-82BE-1713554C2FF5}"/>
                </a:ext>
              </a:extLst>
            </p:cNvPr>
            <p:cNvSpPr txBox="1"/>
            <p:nvPr/>
          </p:nvSpPr>
          <p:spPr>
            <a:xfrm>
              <a:off x="8076312" y="321165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167" name="MoonLegend1" hidden="1">
              <a:extLst>
                <a:ext uri="{FF2B5EF4-FFF2-40B4-BE49-F238E27FC236}">
                  <a16:creationId xmlns:a16="http://schemas.microsoft.com/office/drawing/2014/main" id="{257648F1-4AEE-48B7-AFF5-A8DEC1282986}"/>
                </a:ext>
              </a:extLst>
            </p:cNvPr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91" name="Oval 190" hidden="1">
                <a:extLst>
                  <a:ext uri="{FF2B5EF4-FFF2-40B4-BE49-F238E27FC236}">
                    <a16:creationId xmlns:a16="http://schemas.microsoft.com/office/drawing/2014/main" id="{DE0AC04E-3843-461E-85BB-02189C02D0E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92" name="Arc 191" hidden="1">
                <a:extLst>
                  <a:ext uri="{FF2B5EF4-FFF2-40B4-BE49-F238E27FC236}">
                    <a16:creationId xmlns:a16="http://schemas.microsoft.com/office/drawing/2014/main" id="{E6456482-4CF3-4836-AD30-886DEF507226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n-US" sz="1400"/>
              </a:p>
            </p:txBody>
          </p:sp>
        </p:grpSp>
        <p:grpSp>
          <p:nvGrpSpPr>
            <p:cNvPr id="168" name="MoonLegend2" hidden="1">
              <a:extLst>
                <a:ext uri="{FF2B5EF4-FFF2-40B4-BE49-F238E27FC236}">
                  <a16:creationId xmlns:a16="http://schemas.microsoft.com/office/drawing/2014/main" id="{F97812AB-8645-4B75-86C0-6BCF902FD82F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89" name="Oval 188" hidden="1">
                <a:extLst>
                  <a:ext uri="{FF2B5EF4-FFF2-40B4-BE49-F238E27FC236}">
                    <a16:creationId xmlns:a16="http://schemas.microsoft.com/office/drawing/2014/main" id="{8D1BABEF-D16B-415A-811D-7E8ACD1CF320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90" name="Arc 189" hidden="1">
                <a:extLst>
                  <a:ext uri="{FF2B5EF4-FFF2-40B4-BE49-F238E27FC236}">
                    <a16:creationId xmlns:a16="http://schemas.microsoft.com/office/drawing/2014/main" id="{B451E5A3-4CB0-48E0-8165-36259B3A1195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n-US" sz="1400"/>
              </a:p>
            </p:txBody>
          </p:sp>
        </p:grpSp>
        <p:grpSp>
          <p:nvGrpSpPr>
            <p:cNvPr id="179" name="MoonLegend3" hidden="1">
              <a:extLst>
                <a:ext uri="{FF2B5EF4-FFF2-40B4-BE49-F238E27FC236}">
                  <a16:creationId xmlns:a16="http://schemas.microsoft.com/office/drawing/2014/main" id="{CCA1B5A0-01FC-4D63-A5BA-8FF1905A5B98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87" name="Oval 186" hidden="1">
                <a:extLst>
                  <a:ext uri="{FF2B5EF4-FFF2-40B4-BE49-F238E27FC236}">
                    <a16:creationId xmlns:a16="http://schemas.microsoft.com/office/drawing/2014/main" id="{148EF22F-929B-4D1E-BAD3-4F8E0AB9B89E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88" name="Arc 187" hidden="1">
                <a:extLst>
                  <a:ext uri="{FF2B5EF4-FFF2-40B4-BE49-F238E27FC236}">
                    <a16:creationId xmlns:a16="http://schemas.microsoft.com/office/drawing/2014/main" id="{FC3514F6-8FFF-446A-B0F0-157469FC9A2B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n-US" sz="1400"/>
              </a:p>
            </p:txBody>
          </p:sp>
        </p:grpSp>
        <p:grpSp>
          <p:nvGrpSpPr>
            <p:cNvPr id="180" name="MoonLegend4" hidden="1">
              <a:extLst>
                <a:ext uri="{FF2B5EF4-FFF2-40B4-BE49-F238E27FC236}">
                  <a16:creationId xmlns:a16="http://schemas.microsoft.com/office/drawing/2014/main" id="{1FEB0E84-C05F-4893-810F-76988B257346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84" name="Oval 183" hidden="1">
                <a:extLst>
                  <a:ext uri="{FF2B5EF4-FFF2-40B4-BE49-F238E27FC236}">
                    <a16:creationId xmlns:a16="http://schemas.microsoft.com/office/drawing/2014/main" id="{C1A3C7B0-C48D-4DBA-808D-EFE7D16D82FB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85" name="Arc 184" hidden="1">
                <a:extLst>
                  <a:ext uri="{FF2B5EF4-FFF2-40B4-BE49-F238E27FC236}">
                    <a16:creationId xmlns:a16="http://schemas.microsoft.com/office/drawing/2014/main" id="{24920167-749D-43A3-ACDA-7A2D6395ED68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n-US" sz="1400"/>
              </a:p>
            </p:txBody>
          </p:sp>
        </p:grpSp>
        <p:grpSp>
          <p:nvGrpSpPr>
            <p:cNvPr id="181" name="MoonLegend5" hidden="1">
              <a:extLst>
                <a:ext uri="{FF2B5EF4-FFF2-40B4-BE49-F238E27FC236}">
                  <a16:creationId xmlns:a16="http://schemas.microsoft.com/office/drawing/2014/main" id="{E0698A10-4500-4D0E-9EC6-A3BD37BE7A9E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82" name="Oval 181" hidden="1">
                <a:extLst>
                  <a:ext uri="{FF2B5EF4-FFF2-40B4-BE49-F238E27FC236}">
                    <a16:creationId xmlns:a16="http://schemas.microsoft.com/office/drawing/2014/main" id="{22BACCB4-258E-43DE-98CC-C8F5A047906B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83" name="Arc 182" hidden="1">
                <a:extLst>
                  <a:ext uri="{FF2B5EF4-FFF2-40B4-BE49-F238E27FC236}">
                    <a16:creationId xmlns:a16="http://schemas.microsoft.com/office/drawing/2014/main" id="{293EEF3B-F6E4-4786-8B6F-C138E7A96529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n-US" sz="1400"/>
              </a:p>
            </p:txBody>
          </p:sp>
        </p:grpSp>
      </p:grpSp>
      <p:grpSp>
        <p:nvGrpSpPr>
          <p:cNvPr id="193" name="LegendBoxes" hidden="1">
            <a:extLst>
              <a:ext uri="{FF2B5EF4-FFF2-40B4-BE49-F238E27FC236}">
                <a16:creationId xmlns:a16="http://schemas.microsoft.com/office/drawing/2014/main" id="{8B383AE1-3237-4072-A4A6-78EF864F79A4}"/>
              </a:ext>
            </a:extLst>
          </p:cNvPr>
          <p:cNvGrpSpPr/>
          <p:nvPr/>
        </p:nvGrpSpPr>
        <p:grpSpPr>
          <a:xfrm>
            <a:off x="10796279" y="4381500"/>
            <a:ext cx="853663" cy="1717282"/>
            <a:chOff x="10652400" y="4322824"/>
            <a:chExt cx="853663" cy="1717282"/>
          </a:xfrm>
        </p:grpSpPr>
        <p:sp>
          <p:nvSpPr>
            <p:cNvPr id="194" name="RectangleLegend1" hidden="1">
              <a:extLst>
                <a:ext uri="{FF2B5EF4-FFF2-40B4-BE49-F238E27FC236}">
                  <a16:creationId xmlns:a16="http://schemas.microsoft.com/office/drawing/2014/main" id="{0EA23167-681D-4989-BC18-D73BAB2B2AB3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95" name="RectangleLegend2" hidden="1">
              <a:extLst>
                <a:ext uri="{FF2B5EF4-FFF2-40B4-BE49-F238E27FC236}">
                  <a16:creationId xmlns:a16="http://schemas.microsoft.com/office/drawing/2014/main" id="{85899BF4-99D2-4E2D-B434-476BCD53AD38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96" name="RectangleLegend3" hidden="1">
              <a:extLst>
                <a:ext uri="{FF2B5EF4-FFF2-40B4-BE49-F238E27FC236}">
                  <a16:creationId xmlns:a16="http://schemas.microsoft.com/office/drawing/2014/main" id="{0B167C30-E7EC-419A-B900-3B3C139473EE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97" name="RectangleLegend4" hidden="1">
              <a:extLst>
                <a:ext uri="{FF2B5EF4-FFF2-40B4-BE49-F238E27FC236}">
                  <a16:creationId xmlns:a16="http://schemas.microsoft.com/office/drawing/2014/main" id="{AB8928CE-7CCC-4607-AA2B-308D14F776C5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7" name="RectangleLegend5" hidden="1">
              <a:extLst>
                <a:ext uri="{FF2B5EF4-FFF2-40B4-BE49-F238E27FC236}">
                  <a16:creationId xmlns:a16="http://schemas.microsoft.com/office/drawing/2014/main" id="{5609DB1D-49A1-469C-B440-1807991995FC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8" name="Legend1" hidden="1">
              <a:extLst>
                <a:ext uri="{FF2B5EF4-FFF2-40B4-BE49-F238E27FC236}">
                  <a16:creationId xmlns:a16="http://schemas.microsoft.com/office/drawing/2014/main" id="{C19D4B62-94C4-4A66-8EAE-32DA3026EC9B}"/>
                </a:ext>
              </a:extLst>
            </p:cNvPr>
            <p:cNvSpPr txBox="1"/>
            <p:nvPr/>
          </p:nvSpPr>
          <p:spPr>
            <a:xfrm>
              <a:off x="10978546" y="432282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9" name="Legend2" hidden="1">
              <a:extLst>
                <a:ext uri="{FF2B5EF4-FFF2-40B4-BE49-F238E27FC236}">
                  <a16:creationId xmlns:a16="http://schemas.microsoft.com/office/drawing/2014/main" id="{430CE5FC-9225-4C54-87D2-42C918FC9E0E}"/>
                </a:ext>
              </a:extLst>
            </p:cNvPr>
            <p:cNvSpPr txBox="1"/>
            <p:nvPr/>
          </p:nvSpPr>
          <p:spPr>
            <a:xfrm>
              <a:off x="10978546" y="470232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30" name="Legend3" hidden="1">
              <a:extLst>
                <a:ext uri="{FF2B5EF4-FFF2-40B4-BE49-F238E27FC236}">
                  <a16:creationId xmlns:a16="http://schemas.microsoft.com/office/drawing/2014/main" id="{2F383794-289F-4C43-8E59-C7B62CE7627E}"/>
                </a:ext>
              </a:extLst>
            </p:cNvPr>
            <p:cNvSpPr txBox="1"/>
            <p:nvPr/>
          </p:nvSpPr>
          <p:spPr>
            <a:xfrm>
              <a:off x="10978546" y="5081820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31" name="Legend4" hidden="1">
              <a:extLst>
                <a:ext uri="{FF2B5EF4-FFF2-40B4-BE49-F238E27FC236}">
                  <a16:creationId xmlns:a16="http://schemas.microsoft.com/office/drawing/2014/main" id="{FF3D5E8A-C4CA-410D-A740-D54C4CF48892}"/>
                </a:ext>
              </a:extLst>
            </p:cNvPr>
            <p:cNvSpPr txBox="1"/>
            <p:nvPr/>
          </p:nvSpPr>
          <p:spPr>
            <a:xfrm>
              <a:off x="10978546" y="5453241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32" name="Legend5" hidden="1">
              <a:extLst>
                <a:ext uri="{FF2B5EF4-FFF2-40B4-BE49-F238E27FC236}">
                  <a16:creationId xmlns:a16="http://schemas.microsoft.com/office/drawing/2014/main" id="{D48CF223-4C15-47D6-AF1A-6CDC04B4C1F8}"/>
                </a:ext>
              </a:extLst>
            </p:cNvPr>
            <p:cNvSpPr txBox="1"/>
            <p:nvPr/>
          </p:nvSpPr>
          <p:spPr>
            <a:xfrm>
              <a:off x="10978545" y="582466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pic>
        <p:nvPicPr>
          <p:cNvPr id="170" name="Picture 169">
            <a:extLst>
              <a:ext uri="{FF2B5EF4-FFF2-40B4-BE49-F238E27FC236}">
                <a16:creationId xmlns:a16="http://schemas.microsoft.com/office/drawing/2014/main" id="{DC939171-6E8C-4D80-A238-095B81711D68}"/>
              </a:ext>
            </a:extLst>
          </p:cNvPr>
          <p:cNvPicPr>
            <a:picLocks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8854185" y="6477661"/>
            <a:ext cx="2458340" cy="229092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72" name="Group 171">
            <a:extLst>
              <a:ext uri="{FF2B5EF4-FFF2-40B4-BE49-F238E27FC236}">
                <a16:creationId xmlns:a16="http://schemas.microsoft.com/office/drawing/2014/main" id="{11CDD93D-7B95-47D6-B3F8-1CC7258B1D37}"/>
              </a:ext>
            </a:extLst>
          </p:cNvPr>
          <p:cNvGrpSpPr/>
          <p:nvPr/>
        </p:nvGrpSpPr>
        <p:grpSpPr>
          <a:xfrm>
            <a:off x="554736" y="6368464"/>
            <a:ext cx="11082528" cy="54693"/>
            <a:chOff x="554736" y="6349068"/>
            <a:chExt cx="11082528" cy="54693"/>
          </a:xfrm>
        </p:grpSpPr>
        <p:cxnSp>
          <p:nvCxnSpPr>
            <p:cNvPr id="173" name="Straight Connector 172">
              <a:extLst>
                <a:ext uri="{FF2B5EF4-FFF2-40B4-BE49-F238E27FC236}">
                  <a16:creationId xmlns:a16="http://schemas.microsoft.com/office/drawing/2014/main" id="{BD712AA2-F213-4DA0-A97B-22A6B333B296}"/>
                </a:ext>
              </a:extLst>
            </p:cNvPr>
            <p:cNvCxnSpPr/>
            <p:nvPr userDrawn="1"/>
          </p:nvCxnSpPr>
          <p:spPr bwMode="ltGray">
            <a:xfrm flipV="1">
              <a:off x="554741" y="6349072"/>
              <a:ext cx="11082523" cy="17939"/>
            </a:xfrm>
            <a:prstGeom prst="line">
              <a:avLst/>
            </a:prstGeom>
            <a:noFill/>
            <a:ln w="6350" cap="flat" cmpd="sng" algn="ctr">
              <a:solidFill>
                <a:srgbClr val="A5A5A5"/>
              </a:solidFill>
              <a:prstDash val="solid"/>
              <a:miter lim="800000"/>
            </a:ln>
            <a:effectLst/>
          </p:spPr>
        </p:cxnSp>
        <p:sp>
          <p:nvSpPr>
            <p:cNvPr id="174" name="Rectangle 173">
              <a:extLst>
                <a:ext uri="{FF2B5EF4-FFF2-40B4-BE49-F238E27FC236}">
                  <a16:creationId xmlns:a16="http://schemas.microsoft.com/office/drawing/2014/main" id="{4263DFF2-9F58-4ECB-B41E-6B47E8753649}"/>
                </a:ext>
              </a:extLst>
            </p:cNvPr>
            <p:cNvSpPr/>
            <p:nvPr userDrawn="1"/>
          </p:nvSpPr>
          <p:spPr bwMode="ltGray">
            <a:xfrm>
              <a:off x="554736" y="6358042"/>
              <a:ext cx="2797733" cy="45719"/>
            </a:xfrm>
            <a:prstGeom prst="rect">
              <a:avLst/>
            </a:prstGeom>
            <a:solidFill>
              <a:srgbClr val="000000">
                <a:lumMod val="65000"/>
                <a:lumOff val="3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5" name="Rectangle 174">
              <a:extLst>
                <a:ext uri="{FF2B5EF4-FFF2-40B4-BE49-F238E27FC236}">
                  <a16:creationId xmlns:a16="http://schemas.microsoft.com/office/drawing/2014/main" id="{5148BDD5-08D6-47E3-92F7-471A9F316451}"/>
                </a:ext>
              </a:extLst>
            </p:cNvPr>
            <p:cNvSpPr/>
            <p:nvPr userDrawn="1"/>
          </p:nvSpPr>
          <p:spPr bwMode="ltGray">
            <a:xfrm>
              <a:off x="10671243" y="6349068"/>
              <a:ext cx="966017" cy="54688"/>
            </a:xfrm>
            <a:prstGeom prst="rect">
              <a:avLst/>
            </a:prstGeom>
            <a:solidFill>
              <a:srgbClr val="000000">
                <a:lumMod val="65000"/>
                <a:lumOff val="3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0B03161E-B64E-E115-6AF3-D422908F6681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87820"/>
            <a:ext cx="3308350" cy="1066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7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assified as Public and Information can be shared with anyone needful of the Information.</a:t>
            </a:r>
          </a:p>
        </p:txBody>
      </p:sp>
    </p:spTree>
    <p:extLst>
      <p:ext uri="{BB962C8B-B14F-4D97-AF65-F5344CB8AC3E}">
        <p14:creationId xmlns:p14="http://schemas.microsoft.com/office/powerpoint/2010/main" val="15397178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  <p:sldLayoutId id="2147483750" r:id="rId9"/>
    <p:sldLayoutId id="2147483751" r:id="rId10"/>
    <p:sldLayoutId id="2147483752" r:id="rId11"/>
    <p:sldLayoutId id="2147483753" r:id="rId12"/>
    <p:sldLayoutId id="2147483754" r:id="rId13"/>
    <p:sldLayoutId id="2147483755" r:id="rId14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42913" indent="-2143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8488" indent="-1524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7563" indent="-1476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549.xml"/><Relationship Id="rId7" Type="http://schemas.openxmlformats.org/officeDocument/2006/relationships/oleObject" Target="../embeddings/oleObject81.bin"/><Relationship Id="rId2" Type="http://schemas.openxmlformats.org/officeDocument/2006/relationships/tags" Target="../tags/tag548.xml"/><Relationship Id="rId1" Type="http://schemas.openxmlformats.org/officeDocument/2006/relationships/tags" Target="../tags/tag547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550.xml"/><Relationship Id="rId9" Type="http://schemas.openxmlformats.org/officeDocument/2006/relationships/image" Target="../media/image17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553.xml"/><Relationship Id="rId7" Type="http://schemas.openxmlformats.org/officeDocument/2006/relationships/oleObject" Target="../embeddings/oleObject82.bin"/><Relationship Id="rId2" Type="http://schemas.openxmlformats.org/officeDocument/2006/relationships/tags" Target="../tags/tag552.xml"/><Relationship Id="rId1" Type="http://schemas.openxmlformats.org/officeDocument/2006/relationships/tags" Target="../tags/tag551.x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55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image" Target="../media/image18.PNG"/><Relationship Id="rId7" Type="http://schemas.openxmlformats.org/officeDocument/2006/relationships/diagramQuickStyle" Target="../diagrams/quickStyle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4" Type="http://schemas.openxmlformats.org/officeDocument/2006/relationships/image" Target="../media/image19.png"/><Relationship Id="rId9" Type="http://schemas.microsoft.com/office/2007/relationships/diagramDrawing" Target="../diagrams/drawing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11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41.png"/><Relationship Id="rId5" Type="http://schemas.openxmlformats.org/officeDocument/2006/relationships/image" Target="../media/image230.png"/><Relationship Id="rId4" Type="http://schemas.openxmlformats.org/officeDocument/2006/relationships/image" Target="../media/image220.png"/><Relationship Id="rId9" Type="http://schemas.openxmlformats.org/officeDocument/2006/relationships/image" Target="../media/image2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3.png"/><Relationship Id="rId5" Type="http://schemas.openxmlformats.org/officeDocument/2006/relationships/image" Target="../media/image32.jpeg"/><Relationship Id="rId4" Type="http://schemas.openxmlformats.org/officeDocument/2006/relationships/image" Target="../media/image3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6" hidden="1">
            <a:extLst>
              <a:ext uri="{FF2B5EF4-FFF2-40B4-BE49-F238E27FC236}">
                <a16:creationId xmlns:a16="http://schemas.microsoft.com/office/drawing/2014/main" id="{B0E17E90-3C4E-4F37-9FA4-FC779C25087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6" name="Object 6" hidden="1">
                        <a:extLst>
                          <a:ext uri="{FF2B5EF4-FFF2-40B4-BE49-F238E27FC236}">
                            <a16:creationId xmlns:a16="http://schemas.microsoft.com/office/drawing/2014/main" id="{B0E17E90-3C4E-4F37-9FA4-FC779C250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EB9340E2-D95A-4545-81E1-3AD07AB3A01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4400" b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806FD97B-691F-4513-92F7-37A1FAC29B8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00064" y="2398186"/>
            <a:ext cx="11106066" cy="301621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t" anchorCtr="0">
            <a:spAutoFit/>
          </a:bodyPr>
          <a:lstStyle/>
          <a:p>
            <a:r>
              <a:rPr lang="en-US" sz="4400" spc="-70" dirty="0"/>
              <a:t>Fiscal Policy in Oil and Gas-Exporting Economies: Good Times, Bad Times and Ugly Times</a:t>
            </a:r>
            <a:br>
              <a:rPr lang="en-US" sz="4400" spc="-70" dirty="0"/>
            </a:br>
            <a:br>
              <a:rPr lang="en-US" sz="4400" spc="-70" dirty="0"/>
            </a:br>
            <a:br>
              <a:rPr lang="en-US" sz="4400" spc="-70" dirty="0"/>
            </a:br>
            <a:r>
              <a:rPr lang="en-US" sz="2000" spc="-70" dirty="0"/>
              <a:t>Olivier Durand-Lasserve and Fatih Karanfil</a:t>
            </a:r>
            <a:endParaRPr lang="en-US" sz="4400" spc="-70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480D38A5-435F-70A3-78DF-C7A6768DEA53}"/>
              </a:ext>
            </a:extLst>
          </p:cNvPr>
          <p:cNvSpPr/>
          <p:nvPr/>
        </p:nvSpPr>
        <p:spPr>
          <a:xfrm>
            <a:off x="7525513" y="4074220"/>
            <a:ext cx="4566424" cy="2783780"/>
          </a:xfrm>
          <a:custGeom>
            <a:avLst/>
            <a:gdLst>
              <a:gd name="connsiteX0" fmla="*/ 0 w 4460493"/>
              <a:gd name="connsiteY0" fmla="*/ 201589 h 2015889"/>
              <a:gd name="connsiteX1" fmla="*/ 201589 w 4460493"/>
              <a:gd name="connsiteY1" fmla="*/ 0 h 2015889"/>
              <a:gd name="connsiteX2" fmla="*/ 4258904 w 4460493"/>
              <a:gd name="connsiteY2" fmla="*/ 0 h 2015889"/>
              <a:gd name="connsiteX3" fmla="*/ 4460493 w 4460493"/>
              <a:gd name="connsiteY3" fmla="*/ 201589 h 2015889"/>
              <a:gd name="connsiteX4" fmla="*/ 4460493 w 4460493"/>
              <a:gd name="connsiteY4" fmla="*/ 1814300 h 2015889"/>
              <a:gd name="connsiteX5" fmla="*/ 4258904 w 4460493"/>
              <a:gd name="connsiteY5" fmla="*/ 2015889 h 2015889"/>
              <a:gd name="connsiteX6" fmla="*/ 201589 w 4460493"/>
              <a:gd name="connsiteY6" fmla="*/ 2015889 h 2015889"/>
              <a:gd name="connsiteX7" fmla="*/ 0 w 4460493"/>
              <a:gd name="connsiteY7" fmla="*/ 1814300 h 2015889"/>
              <a:gd name="connsiteX8" fmla="*/ 0 w 4460493"/>
              <a:gd name="connsiteY8" fmla="*/ 201589 h 2015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0493" h="2015889">
                <a:moveTo>
                  <a:pt x="0" y="201589"/>
                </a:moveTo>
                <a:cubicBezTo>
                  <a:pt x="0" y="90254"/>
                  <a:pt x="90254" y="0"/>
                  <a:pt x="201589" y="0"/>
                </a:cubicBezTo>
                <a:lnTo>
                  <a:pt x="4258904" y="0"/>
                </a:lnTo>
                <a:cubicBezTo>
                  <a:pt x="4370239" y="0"/>
                  <a:pt x="4460493" y="90254"/>
                  <a:pt x="4460493" y="201589"/>
                </a:cubicBezTo>
                <a:lnTo>
                  <a:pt x="4460493" y="1814300"/>
                </a:lnTo>
                <a:cubicBezTo>
                  <a:pt x="4460493" y="1925635"/>
                  <a:pt x="4370239" y="2015889"/>
                  <a:pt x="4258904" y="2015889"/>
                </a:cubicBezTo>
                <a:lnTo>
                  <a:pt x="201589" y="2015889"/>
                </a:lnTo>
                <a:cubicBezTo>
                  <a:pt x="90254" y="2015889"/>
                  <a:pt x="0" y="1925635"/>
                  <a:pt x="0" y="1814300"/>
                </a:cubicBezTo>
                <a:lnTo>
                  <a:pt x="0" y="201589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06680" tIns="913035" rIns="106680" bIns="509859" numCol="1" spcCol="1270" anchor="ctr" anchorCtr="0">
            <a:noAutofit/>
          </a:bodyPr>
          <a:lstStyle/>
          <a:p>
            <a:pPr marL="0" lvl="0" indent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500" kern="1200" dirty="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marL="0" lvl="0" indent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500" dirty="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marL="0" lvl="0" indent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500" kern="1200" dirty="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lvl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500" kern="1200" dirty="0">
                <a:latin typeface="Cambria" panose="02040503050406030204" pitchFamily="18" charset="0"/>
                <a:ea typeface="Cambria" panose="02040503050406030204" pitchFamily="18" charset="0"/>
              </a:rPr>
              <a:t>The material presented is based on </a:t>
            </a:r>
            <a:r>
              <a:rPr lang="en-US" sz="1500" dirty="0">
                <a:latin typeface="Cambria" panose="02040503050406030204" pitchFamily="18" charset="0"/>
                <a:ea typeface="Cambria" panose="02040503050406030204" pitchFamily="18" charset="0"/>
              </a:rPr>
              <a:t>Durand-Lasserve and Karanfil </a:t>
            </a:r>
            <a:r>
              <a:rPr lang="en-US" sz="1500" kern="1200" dirty="0">
                <a:latin typeface="Cambria" panose="02040503050406030204" pitchFamily="18" charset="0"/>
                <a:ea typeface="Cambria" panose="02040503050406030204" pitchFamily="18" charset="0"/>
              </a:rPr>
              <a:t>(</a:t>
            </a:r>
            <a:r>
              <a:rPr lang="en-US" sz="1500" i="1" kern="1200" dirty="0">
                <a:latin typeface="Cambria" panose="02040503050406030204" pitchFamily="18" charset="0"/>
                <a:ea typeface="Cambria" panose="02040503050406030204" pitchFamily="18" charset="0"/>
              </a:rPr>
              <a:t>Energy Economics</a:t>
            </a:r>
            <a:r>
              <a:rPr lang="en-US" sz="1500" kern="1200" dirty="0">
                <a:latin typeface="Cambria" panose="02040503050406030204" pitchFamily="18" charset="0"/>
                <a:ea typeface="Cambria" panose="02040503050406030204" pitchFamily="18" charset="0"/>
              </a:rPr>
              <a:t>, </a:t>
            </a:r>
            <a:r>
              <a:rPr lang="en-US" sz="1500" dirty="0">
                <a:latin typeface="Cambria" panose="02040503050406030204" pitchFamily="18" charset="0"/>
                <a:ea typeface="Cambria" panose="02040503050406030204" pitchFamily="18" charset="0"/>
              </a:rPr>
              <a:t>Oct</a:t>
            </a:r>
            <a:r>
              <a:rPr lang="en-US" sz="1500" kern="1200" dirty="0">
                <a:latin typeface="Cambria" panose="02040503050406030204" pitchFamily="18" charset="0"/>
                <a:ea typeface="Cambria" panose="02040503050406030204" pitchFamily="18" charset="0"/>
              </a:rPr>
              <a:t>. 2023):</a:t>
            </a:r>
          </a:p>
          <a:p>
            <a:pPr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500" kern="1200" dirty="0">
                <a:latin typeface="Cambria" panose="02040503050406030204" pitchFamily="18" charset="0"/>
                <a:ea typeface="Cambria" panose="02040503050406030204" pitchFamily="18" charset="0"/>
              </a:rPr>
              <a:t>“</a:t>
            </a:r>
            <a:r>
              <a:rPr lang="en-US" sz="1500" dirty="0">
                <a:latin typeface="Cambria" panose="02040503050406030204" pitchFamily="18" charset="0"/>
                <a:ea typeface="Cambria" panose="02040503050406030204" pitchFamily="18" charset="0"/>
              </a:rPr>
              <a:t>Fiscal policy in oil and gas-exporting economies: Good times, bad times and ugly times</a:t>
            </a:r>
            <a:r>
              <a:rPr lang="en-US" sz="1500" kern="1200" dirty="0">
                <a:latin typeface="Cambria" panose="02040503050406030204" pitchFamily="18" charset="0"/>
                <a:ea typeface="Cambria" panose="02040503050406030204" pitchFamily="18" charset="0"/>
              </a:rPr>
              <a:t>”</a:t>
            </a:r>
          </a:p>
        </p:txBody>
      </p:sp>
      <p:pic>
        <p:nvPicPr>
          <p:cNvPr id="3" name="Picture 6">
            <a:extLst>
              <a:ext uri="{FF2B5EF4-FFF2-40B4-BE49-F238E27FC236}">
                <a16:creationId xmlns:a16="http://schemas.microsoft.com/office/drawing/2014/main" id="{FAE92B04-B6CA-BF01-0767-812D0AB28A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7013" y="4101652"/>
            <a:ext cx="1063424" cy="15183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19217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2087F20D-4785-CE47-6FF9-22B97B987668}"/>
              </a:ext>
            </a:extLst>
          </p:cNvPr>
          <p:cNvSpPr/>
          <p:nvPr/>
        </p:nvSpPr>
        <p:spPr>
          <a:xfrm>
            <a:off x="1645920" y="1280160"/>
            <a:ext cx="11000232" cy="4242801"/>
          </a:xfrm>
          <a:prstGeom prst="rect">
            <a:avLst/>
          </a:prstGeom>
          <a:solidFill>
            <a:schemeClr val="tx2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5" name="object 2">
            <a:extLst>
              <a:ext uri="{FF2B5EF4-FFF2-40B4-BE49-F238E27FC236}">
                <a16:creationId xmlns:a16="http://schemas.microsoft.com/office/drawing/2014/main" id="{316B8079-4A76-825B-BA7C-2BAA5881359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23342" y="223718"/>
            <a:ext cx="7943141" cy="87459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2800" spc="20" dirty="0">
                <a:solidFill>
                  <a:schemeClr val="accent1"/>
                </a:solidFill>
              </a:rPr>
              <a:t>Policy implications</a:t>
            </a:r>
            <a:br>
              <a:rPr lang="en-US" sz="2800" spc="20" dirty="0">
                <a:solidFill>
                  <a:schemeClr val="accent1"/>
                </a:solidFill>
              </a:rPr>
            </a:br>
            <a:endParaRPr sz="2800" spc="-135" dirty="0">
              <a:solidFill>
                <a:schemeClr val="accent1"/>
              </a:solidFill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51FD9DA-198E-9CB2-345D-951617A3D39E}"/>
              </a:ext>
            </a:extLst>
          </p:cNvPr>
          <p:cNvCxnSpPr/>
          <p:nvPr/>
        </p:nvCxnSpPr>
        <p:spPr>
          <a:xfrm>
            <a:off x="526473" y="804589"/>
            <a:ext cx="3472872" cy="0"/>
          </a:xfrm>
          <a:prstGeom prst="line">
            <a:avLst/>
          </a:prstGeom>
          <a:ln w="19050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F0D20D54-537A-136A-6D44-3474DA73A633}"/>
              </a:ext>
            </a:extLst>
          </p:cNvPr>
          <p:cNvSpPr txBox="1"/>
          <p:nvPr/>
        </p:nvSpPr>
        <p:spPr>
          <a:xfrm>
            <a:off x="11813997" y="6532801"/>
            <a:ext cx="288585" cy="26668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fld id="{EFF4D7D2-636D-40D9-93B6-0CBAC255A5A5}" type="slidenum">
              <a:rPr lang="en-US" sz="1200" smtClean="0"/>
              <a:t>10</a:t>
            </a:fld>
            <a:endParaRPr lang="en-US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63093A-CDBD-E40B-0FD4-88D6611D3F36}"/>
              </a:ext>
            </a:extLst>
          </p:cNvPr>
          <p:cNvSpPr txBox="1"/>
          <p:nvPr/>
        </p:nvSpPr>
        <p:spPr>
          <a:xfrm>
            <a:off x="1235990" y="1698343"/>
            <a:ext cx="9233890" cy="1031051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0" lvl="0" indent="0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000" kern="1200" dirty="0">
                <a:latin typeface="Cambria" panose="02040503050406030204" pitchFamily="18" charset="0"/>
                <a:ea typeface="Cambria" panose="02040503050406030204" pitchFamily="18" charset="0"/>
              </a:rPr>
              <a:t>Avoid expenditure cuts during bad times because it is when the social cost is higher </a:t>
            </a:r>
          </a:p>
          <a:p>
            <a:pPr marL="0" lvl="0" indent="0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000" kern="1200" dirty="0">
                <a:latin typeface="Cambria" panose="02040503050406030204" pitchFamily="18" charset="0"/>
                <a:ea typeface="Cambria" panose="02040503050406030204" pitchFamily="18" charset="0"/>
              </a:rPr>
              <a:t>But financial openness and IMF programs, instead of helping smooth fiscal policies, accentuate the procyclicality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D868BC8-972C-AC32-98E9-373E91E3D834}"/>
              </a:ext>
            </a:extLst>
          </p:cNvPr>
          <p:cNvSpPr txBox="1"/>
          <p:nvPr/>
        </p:nvSpPr>
        <p:spPr>
          <a:xfrm>
            <a:off x="1235990" y="2931094"/>
            <a:ext cx="9233890" cy="754053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0" lvl="0" indent="0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000" kern="1200" dirty="0">
                <a:latin typeface="Cambria" panose="02040503050406030204" pitchFamily="18" charset="0"/>
                <a:ea typeface="Cambria" panose="02040503050406030204" pitchFamily="18" charset="0"/>
              </a:rPr>
              <a:t>Limiting procyclicality in good times would be the optimal solution</a:t>
            </a:r>
          </a:p>
          <a:p>
            <a:pPr marL="0" lvl="0" indent="0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000" kern="1200" dirty="0">
                <a:latin typeface="Cambria" panose="02040503050406030204" pitchFamily="18" charset="0"/>
                <a:ea typeface="Cambria" panose="02040503050406030204" pitchFamily="18" charset="0"/>
              </a:rPr>
              <a:t>Fiscal rules can support such a polic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8927A4E-1DF6-66ED-CE58-8EB7F8D356F8}"/>
              </a:ext>
            </a:extLst>
          </p:cNvPr>
          <p:cNvSpPr txBox="1"/>
          <p:nvPr/>
        </p:nvSpPr>
        <p:spPr>
          <a:xfrm>
            <a:off x="1235990" y="3914546"/>
            <a:ext cx="9233890" cy="1031051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0" lvl="0" indent="0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000" kern="1200" dirty="0">
                <a:latin typeface="Cambria" panose="02040503050406030204" pitchFamily="18" charset="0"/>
                <a:ea typeface="Cambria" panose="02040503050406030204" pitchFamily="18" charset="0"/>
              </a:rPr>
              <a:t>Rapid growth in capital inflows are challenging if not invested in the right direction</a:t>
            </a:r>
          </a:p>
          <a:p>
            <a:pPr marL="0" lvl="0" indent="0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000" kern="1200" dirty="0">
                <a:latin typeface="Cambria" panose="02040503050406030204" pitchFamily="18" charset="0"/>
                <a:ea typeface="Cambria" panose="02040503050406030204" pitchFamily="18" charset="0"/>
              </a:rPr>
              <a:t>During good times, need for investments that drive economic diversification and long-term economic growth</a:t>
            </a:r>
          </a:p>
        </p:txBody>
      </p:sp>
    </p:spTree>
    <p:extLst>
      <p:ext uri="{BB962C8B-B14F-4D97-AF65-F5344CB8AC3E}">
        <p14:creationId xmlns:p14="http://schemas.microsoft.com/office/powerpoint/2010/main" val="5362759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6" hidden="1">
            <a:extLst>
              <a:ext uri="{FF2B5EF4-FFF2-40B4-BE49-F238E27FC236}">
                <a16:creationId xmlns:a16="http://schemas.microsoft.com/office/drawing/2014/main" id="{B0E17E90-3C4E-4F37-9FA4-FC779C25087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6" name="Object 6" hidden="1">
                        <a:extLst>
                          <a:ext uri="{FF2B5EF4-FFF2-40B4-BE49-F238E27FC236}">
                            <a16:creationId xmlns:a16="http://schemas.microsoft.com/office/drawing/2014/main" id="{B0E17E90-3C4E-4F37-9FA4-FC779C250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EB9340E2-D95A-4545-81E1-3AD07AB3A01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4400" b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806FD97B-691F-4513-92F7-37A1FAC29B8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1942" y="2847633"/>
            <a:ext cx="8205978" cy="677108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t" anchorCtr="0">
            <a:spAutoFit/>
          </a:bodyPr>
          <a:lstStyle/>
          <a:p>
            <a:r>
              <a:rPr lang="en-US" dirty="0"/>
              <a:t>Thank you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8488188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316B8079-4A76-825B-BA7C-2BAA5881359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23342" y="223718"/>
            <a:ext cx="7943141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2800" spc="20" dirty="0">
                <a:solidFill>
                  <a:schemeClr val="accent1"/>
                </a:solidFill>
              </a:rPr>
              <a:t>Covariat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51FD9DA-198E-9CB2-345D-951617A3D39E}"/>
              </a:ext>
            </a:extLst>
          </p:cNvPr>
          <p:cNvCxnSpPr/>
          <p:nvPr/>
        </p:nvCxnSpPr>
        <p:spPr>
          <a:xfrm>
            <a:off x="526473" y="804589"/>
            <a:ext cx="3472872" cy="0"/>
          </a:xfrm>
          <a:prstGeom prst="line">
            <a:avLst/>
          </a:prstGeom>
          <a:ln w="19050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692E02E6-8074-22D0-4552-2A39D504FE5C}"/>
              </a:ext>
            </a:extLst>
          </p:cNvPr>
          <p:cNvSpPr txBox="1"/>
          <p:nvPr/>
        </p:nvSpPr>
        <p:spPr>
          <a:xfrm>
            <a:off x="375385" y="866400"/>
            <a:ext cx="11816615" cy="461590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/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1" dirty="0">
                <a:latin typeface="Calibri (body)"/>
              </a:rPr>
              <a:t>Financial constraints</a:t>
            </a:r>
          </a:p>
          <a:p>
            <a:pPr marL="338138" lvl="1" indent="0">
              <a:spcAft>
                <a:spcPts val="600"/>
              </a:spcAft>
              <a:buNone/>
            </a:pPr>
            <a:r>
              <a:rPr lang="en-US" dirty="0">
                <a:effectLst/>
                <a:latin typeface="Calibri (body)"/>
                <a:ea typeface="Times New Roman" panose="02020603050405020304" pitchFamily="18" charset="0"/>
              </a:rPr>
              <a:t>Chinn and Ito (2006) </a:t>
            </a:r>
            <a:r>
              <a:rPr lang="en-US" dirty="0">
                <a:latin typeface="Calibri (body)"/>
                <a:ea typeface="Times New Roman" panose="02020603050405020304" pitchFamily="18" charset="0"/>
              </a:rPr>
              <a:t>index </a:t>
            </a:r>
            <a:r>
              <a:rPr lang="en-US" dirty="0">
                <a:effectLst/>
                <a:latin typeface="Calibri (body)"/>
                <a:ea typeface="Times New Roman" panose="02020603050405020304" pitchFamily="18" charset="0"/>
              </a:rPr>
              <a:t>of capital account openness. The more open the country is to cross-border capital transactions the higher the index values are</a:t>
            </a:r>
            <a:endParaRPr lang="en-US" b="1" dirty="0">
              <a:latin typeface="Calibri (body)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1" dirty="0">
                <a:latin typeface="Calibri (body)"/>
              </a:rPr>
              <a:t>Institutional quality</a:t>
            </a:r>
          </a:p>
          <a:p>
            <a:pPr>
              <a:spcAft>
                <a:spcPts val="600"/>
              </a:spcAft>
            </a:pPr>
            <a:r>
              <a:rPr lang="en-US" sz="2400" dirty="0">
                <a:latin typeface="Calibri (body)"/>
              </a:rPr>
              <a:t>     Sum of the 6 </a:t>
            </a:r>
            <a:r>
              <a:rPr lang="en-US" sz="2400" i="0" strike="noStrike" dirty="0">
                <a:solidFill>
                  <a:srgbClr val="000000"/>
                </a:solidFill>
                <a:latin typeface="Calibri (body)"/>
                <a:cs typeface="Arial" pitchFamily="34" charset="0"/>
              </a:rPr>
              <a:t>Worldwide Governance Indicators of Kaufmann et al (2010)</a:t>
            </a:r>
            <a:endParaRPr lang="en-US" sz="2400" dirty="0">
              <a:latin typeface="Calibri (body)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1" dirty="0">
                <a:latin typeface="Calibri (body)"/>
              </a:rPr>
              <a:t>Fiscal rules</a:t>
            </a:r>
          </a:p>
          <a:p>
            <a:pPr>
              <a:spcAft>
                <a:spcPts val="600"/>
              </a:spcAft>
            </a:pPr>
            <a:r>
              <a:rPr lang="en-US" sz="2400" dirty="0">
                <a:latin typeface="Calibri (body)"/>
              </a:rPr>
              <a:t>     Dummy calculated based on the IMF’s fiscal rule database of </a:t>
            </a:r>
            <a:r>
              <a:rPr lang="en-US" sz="2400" dirty="0" err="1">
                <a:latin typeface="Calibri (body)"/>
              </a:rPr>
              <a:t>Davoodi</a:t>
            </a:r>
            <a:r>
              <a:rPr lang="en-US" sz="2400" dirty="0">
                <a:latin typeface="Calibri (body)"/>
              </a:rPr>
              <a:t> et al. (2022)</a:t>
            </a:r>
            <a:endParaRPr lang="en-US" sz="2400" b="1" dirty="0">
              <a:latin typeface="Calibri (body)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1" dirty="0">
                <a:latin typeface="Calibri (body)"/>
              </a:rPr>
              <a:t>Exchange rate flexibility</a:t>
            </a:r>
          </a:p>
          <a:p>
            <a:pPr marL="338138" indent="-338138">
              <a:spcAft>
                <a:spcPts val="600"/>
              </a:spcAft>
            </a:pPr>
            <a:r>
              <a:rPr lang="en-US" sz="2400" dirty="0">
                <a:latin typeface="Calibri (body)"/>
              </a:rPr>
              <a:t>     Index rising from 1 to 6 as flexibility increases, with 1 representing a pegged currency </a:t>
            </a:r>
            <a:r>
              <a:rPr lang="en-US" sz="2400" dirty="0" err="1">
                <a:latin typeface="Calibri (body)"/>
              </a:rPr>
              <a:t>Ilzetzki</a:t>
            </a:r>
            <a:r>
              <a:rPr lang="en-US" sz="2400" dirty="0">
                <a:latin typeface="Calibri (body)"/>
              </a:rPr>
              <a:t> et al. (2021)</a:t>
            </a:r>
            <a:endParaRPr lang="en-US" sz="2400" b="1" dirty="0">
              <a:latin typeface="Calibri (body)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1" dirty="0">
                <a:latin typeface="Calibri (body)"/>
              </a:rPr>
              <a:t>IMF programs</a:t>
            </a:r>
          </a:p>
          <a:p>
            <a:r>
              <a:rPr lang="en-US" sz="2400" dirty="0">
                <a:latin typeface="Calibri (body)"/>
              </a:rPr>
              <a:t>     D</a:t>
            </a:r>
            <a:r>
              <a:rPr lang="en-US" sz="2400" dirty="0">
                <a:effectLst/>
                <a:latin typeface="Calibri (body)"/>
                <a:ea typeface="Times New Roman" panose="02020603050405020304" pitchFamily="18" charset="0"/>
              </a:rPr>
              <a:t>ummy if a country is under IMF arrangement (Dreher 2006</a:t>
            </a:r>
            <a:r>
              <a:rPr lang="en-US" sz="2400" dirty="0">
                <a:effectLst/>
                <a:latin typeface="Calibri (body)"/>
                <a:ea typeface="Calibri" panose="020F0502020204030204" pitchFamily="34" charset="0"/>
                <a:cs typeface="Arial" panose="020B0604020202020204" pitchFamily="34" charset="0"/>
              </a:rPr>
              <a:t>)</a:t>
            </a:r>
          </a:p>
          <a:p>
            <a:endParaRPr lang="en-US" sz="2400" dirty="0">
              <a:latin typeface="Calibri (body)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D30010E-8C71-5B57-9BB5-000B58EDC054}"/>
              </a:ext>
            </a:extLst>
          </p:cNvPr>
          <p:cNvSpPr txBox="1"/>
          <p:nvPr/>
        </p:nvSpPr>
        <p:spPr>
          <a:xfrm>
            <a:off x="11813997" y="6532801"/>
            <a:ext cx="288585" cy="26668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fld id="{EFF4D7D2-636D-40D9-93B6-0CBAC255A5A5}" type="slidenum">
              <a:rPr lang="en-US" sz="1200" smtClean="0"/>
              <a:t>12</a:t>
            </a:fld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48215258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316B8079-4A76-825B-BA7C-2BAA5881359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23342" y="223718"/>
            <a:ext cx="10918801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2800" spc="20" dirty="0">
                <a:solidFill>
                  <a:schemeClr val="accent1"/>
                </a:solidFill>
              </a:rPr>
              <a:t>Procyclicality of expenditure to oil revenue: preliminary finding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51FD9DA-198E-9CB2-345D-951617A3D39E}"/>
              </a:ext>
            </a:extLst>
          </p:cNvPr>
          <p:cNvCxnSpPr/>
          <p:nvPr/>
        </p:nvCxnSpPr>
        <p:spPr>
          <a:xfrm>
            <a:off x="526473" y="804589"/>
            <a:ext cx="3472872" cy="0"/>
          </a:xfrm>
          <a:prstGeom prst="line">
            <a:avLst/>
          </a:prstGeom>
          <a:ln w="19050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3" name="Table 2">
                <a:extLst>
                  <a:ext uri="{FF2B5EF4-FFF2-40B4-BE49-F238E27FC236}">
                    <a16:creationId xmlns:a16="http://schemas.microsoft.com/office/drawing/2014/main" id="{F07FE989-67EC-BBE0-C6A6-0D1B02D4AE95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678871441"/>
                  </p:ext>
                </p:extLst>
              </p:nvPr>
            </p:nvGraphicFramePr>
            <p:xfrm>
              <a:off x="631774" y="1106071"/>
              <a:ext cx="10687691" cy="4976717"/>
            </p:xfrm>
            <a:graphic>
              <a:graphicData uri="http://schemas.openxmlformats.org/drawingml/2006/table">
                <a:tbl>
                  <a:tblPr firstRow="1" firstCol="1" bandRow="1">
                    <a:tableStyleId>{5C22544A-7EE6-4342-B048-85BDC9FD1C3A}</a:tableStyleId>
                  </a:tblPr>
                  <a:tblGrid>
                    <a:gridCol w="3053782">
                      <a:extLst>
                        <a:ext uri="{9D8B030D-6E8A-4147-A177-3AD203B41FA5}">
                          <a16:colId xmlns:a16="http://schemas.microsoft.com/office/drawing/2014/main" val="3636455942"/>
                        </a:ext>
                      </a:extLst>
                    </a:gridCol>
                    <a:gridCol w="1073723">
                      <a:extLst>
                        <a:ext uri="{9D8B030D-6E8A-4147-A177-3AD203B41FA5}">
                          <a16:colId xmlns:a16="http://schemas.microsoft.com/office/drawing/2014/main" val="2543184670"/>
                        </a:ext>
                      </a:extLst>
                    </a:gridCol>
                    <a:gridCol w="1323710">
                      <a:extLst>
                        <a:ext uri="{9D8B030D-6E8A-4147-A177-3AD203B41FA5}">
                          <a16:colId xmlns:a16="http://schemas.microsoft.com/office/drawing/2014/main" val="1793367630"/>
                        </a:ext>
                      </a:extLst>
                    </a:gridCol>
                    <a:gridCol w="1292873">
                      <a:extLst>
                        <a:ext uri="{9D8B030D-6E8A-4147-A177-3AD203B41FA5}">
                          <a16:colId xmlns:a16="http://schemas.microsoft.com/office/drawing/2014/main" val="4104081199"/>
                        </a:ext>
                      </a:extLst>
                    </a:gridCol>
                    <a:gridCol w="1367762">
                      <a:extLst>
                        <a:ext uri="{9D8B030D-6E8A-4147-A177-3AD203B41FA5}">
                          <a16:colId xmlns:a16="http://schemas.microsoft.com/office/drawing/2014/main" val="3517601034"/>
                        </a:ext>
                      </a:extLst>
                    </a:gridCol>
                    <a:gridCol w="1280763">
                      <a:extLst>
                        <a:ext uri="{9D8B030D-6E8A-4147-A177-3AD203B41FA5}">
                          <a16:colId xmlns:a16="http://schemas.microsoft.com/office/drawing/2014/main" val="972999081"/>
                        </a:ext>
                      </a:extLst>
                    </a:gridCol>
                    <a:gridCol w="1295078">
                      <a:extLst>
                        <a:ext uri="{9D8B030D-6E8A-4147-A177-3AD203B41FA5}">
                          <a16:colId xmlns:a16="http://schemas.microsoft.com/office/drawing/2014/main" val="4156019505"/>
                        </a:ext>
                      </a:extLst>
                    </a:gridCol>
                  </a:tblGrid>
                  <a:tr h="262609"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 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ctr">
                        <a:solidFill>
                          <a:schemeClr val="accent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1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(2)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3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4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5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(6)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ctr"/>
                    </a:tc>
                    <a:extLst>
                      <a:ext uri="{0D108BD9-81ED-4DB2-BD59-A6C34878D82A}">
                        <a16:rowId xmlns:a16="http://schemas.microsoft.com/office/drawing/2014/main" val="2595699076"/>
                      </a:ext>
                    </a:extLst>
                  </a:tr>
                  <a:tr h="274762"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r>
                                  <m:rPr>
                                    <m:sty m:val="p"/>
                                  </m:rPr>
                                  <a:rPr lang="en-US" sz="140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ΔEXP</m:t>
                                </m:r>
                              </m:oMath>
                            </m:oMathPara>
                          </a14:m>
                          <a:endParaRPr lang="en-US" sz="1400" dirty="0">
                            <a:effectLst/>
                            <a:latin typeface="+mn-lt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ctr">
                        <a:solidFill>
                          <a:schemeClr val="accent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Tot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Inv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Cur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Tot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Inv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Cur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ctr"/>
                    </a:tc>
                    <a:extLst>
                      <a:ext uri="{0D108BD9-81ED-4DB2-BD59-A6C34878D82A}">
                        <a16:rowId xmlns:a16="http://schemas.microsoft.com/office/drawing/2014/main" val="3640624027"/>
                      </a:ext>
                    </a:extLst>
                  </a:tr>
                  <a:tr h="237532"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 xmlns:m="http://schemas.openxmlformats.org/officeDocument/2006/math">
                              <m:r>
                                <m:rPr>
                                  <m:sty m:val="p"/>
                                </m:rPr>
                                <a:rPr lang="en-US" sz="1400" b="0" smtClean="0">
                                  <a:effectLst/>
                                  <a:latin typeface="Cambria Math" panose="02040503050406030204" pitchFamily="18" charset="0"/>
                                </a:rPr>
                                <m:t>Δ</m:t>
                              </m:r>
                              <m:r>
                                <m:rPr>
                                  <m:sty m:val="p"/>
                                </m:rPr>
                                <a:rPr lang="en-US" sz="1400" b="0" i="1" smtClean="0">
                                  <a:effectLst/>
                                  <a:latin typeface="Cambria Math" panose="02040503050406030204" pitchFamily="18" charset="0"/>
                                </a:rPr>
                                <m:t>RENT</m:t>
                              </m:r>
                            </m:oMath>
                          </a14:m>
                          <a:r>
                            <a:rPr lang="en-US" sz="1400" b="0" dirty="0">
                              <a:effectLst/>
                              <a:latin typeface="+mn-lt"/>
                            </a:rPr>
                            <a:t> </a:t>
                          </a:r>
                          <a:endParaRPr lang="en-US" sz="1400" b="0" dirty="0">
                            <a:effectLst/>
                            <a:latin typeface="+mn-lt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>
                        <a:solidFill>
                          <a:schemeClr val="accent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0.892***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0.157***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821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0.025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201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0.047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extLst>
                      <a:ext uri="{0D108BD9-81ED-4DB2-BD59-A6C34878D82A}">
                        <a16:rowId xmlns:a16="http://schemas.microsoft.com/office/drawing/2014/main" val="980544535"/>
                      </a:ext>
                    </a:extLst>
                  </a:tr>
                  <a:tr h="262609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 b="0" dirty="0">
                            <a:effectLst/>
                            <a:latin typeface="+mn-lt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>
                        <a:solidFill>
                          <a:schemeClr val="accent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278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0329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281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160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104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135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extLst>
                      <a:ext uri="{0D108BD9-81ED-4DB2-BD59-A6C34878D82A}">
                        <a16:rowId xmlns:a16="http://schemas.microsoft.com/office/drawing/2014/main" val="2522251931"/>
                      </a:ext>
                    </a:extLst>
                  </a:tr>
                  <a:tr h="262609"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 xmlns:m="http://schemas.openxmlformats.org/officeDocument/2006/math">
                              <m:r>
                                <m:rPr>
                                  <m:sty m:val="p"/>
                                </m:rPr>
                                <a:rPr lang="en-US" sz="1400" b="0" smtClean="0">
                                  <a:effectLst/>
                                  <a:latin typeface="Cambria Math" panose="02040503050406030204" pitchFamily="18" charset="0"/>
                                </a:rPr>
                                <m:t>Δ</m:t>
                              </m:r>
                              <m:r>
                                <m:rPr>
                                  <m:sty m:val="p"/>
                                </m:rPr>
                                <a:rPr lang="en-US" sz="1400" b="0" i="1" smtClean="0">
                                  <a:effectLst/>
                                  <a:latin typeface="Cambria Math" panose="02040503050406030204" pitchFamily="18" charset="0"/>
                                </a:rPr>
                                <m:t>RENT</m:t>
                              </m:r>
                              <m:r>
                                <a:rPr lang="en-US" sz="1400" b="0" smtClean="0">
                                  <a:effectLst/>
                                  <a:latin typeface="Cambria Math" panose="02040503050406030204" pitchFamily="18" charset="0"/>
                                </a:rPr>
                                <m:t>× </m:t>
                              </m:r>
                            </m:oMath>
                          </a14:m>
                          <a:r>
                            <a:rPr lang="en-US" sz="1400" b="0" dirty="0">
                              <a:effectLst/>
                              <a:latin typeface="+mn-lt"/>
                            </a:rPr>
                            <a:t>Financial</a:t>
                          </a:r>
                          <a:r>
                            <a:rPr lang="en-US" sz="1400" b="0" baseline="0" dirty="0">
                              <a:effectLst/>
                              <a:latin typeface="+mn-lt"/>
                            </a:rPr>
                            <a:t> openness</a:t>
                          </a:r>
                          <a:endParaRPr lang="en-US" sz="1400" b="0" dirty="0">
                            <a:effectLst/>
                            <a:latin typeface="+mn-lt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>
                        <a:solidFill>
                          <a:schemeClr val="accent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423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012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366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extLst>
                      <a:ext uri="{0D108BD9-81ED-4DB2-BD59-A6C34878D82A}">
                        <a16:rowId xmlns:a16="http://schemas.microsoft.com/office/drawing/2014/main" val="631150595"/>
                      </a:ext>
                    </a:extLst>
                  </a:tr>
                  <a:tr h="262609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 b="0" dirty="0">
                            <a:effectLst/>
                            <a:latin typeface="+mn-lt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>
                        <a:solidFill>
                          <a:schemeClr val="accent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150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030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126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extLst>
                      <a:ext uri="{0D108BD9-81ED-4DB2-BD59-A6C34878D82A}">
                        <a16:rowId xmlns:a16="http://schemas.microsoft.com/office/drawing/2014/main" val="2889398158"/>
                      </a:ext>
                    </a:extLst>
                  </a:tr>
                  <a:tr h="262609"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r>
                                  <m:rPr>
                                    <m:sty m:val="p"/>
                                  </m:rPr>
                                  <a:rPr lang="en-US" sz="1400" b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Δ</m:t>
                                </m:r>
                                <m:r>
                                  <m:rPr>
                                    <m:sty m:val="p"/>
                                  </m:rPr>
                                  <a:rPr lang="en-US" sz="1400" b="0" i="1" smtClean="0">
                                    <a:effectLst/>
                                    <a:latin typeface="Cambria Math" panose="02040503050406030204" pitchFamily="18" charset="0"/>
                                  </a:rPr>
                                  <m:t>RENT</m:t>
                                </m:r>
                                <m:r>
                                  <a:rPr lang="en-US" sz="1400" b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× </m:t>
                                </m:r>
                                <m:r>
                                  <m:rPr>
                                    <m:sty m:val="p"/>
                                  </m:rPr>
                                  <a:rPr lang="en-US" sz="1400" b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Institutional</m:t>
                                </m:r>
                                <m:r>
                                  <a:rPr lang="en-US" sz="1400" b="0" i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m:rPr>
                                    <m:sty m:val="p"/>
                                  </m:rPr>
                                  <a:rPr lang="en-US" sz="1400" b="0" i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quality</m:t>
                                </m:r>
                              </m:oMath>
                            </m:oMathPara>
                          </a14:m>
                          <a:endParaRPr lang="en-US" sz="1400" b="0" dirty="0">
                            <a:effectLst/>
                            <a:latin typeface="+mn-lt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>
                        <a:solidFill>
                          <a:schemeClr val="accent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0.605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0.102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0.465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extLst>
                      <a:ext uri="{0D108BD9-81ED-4DB2-BD59-A6C34878D82A}">
                        <a16:rowId xmlns:a16="http://schemas.microsoft.com/office/drawing/2014/main" val="3023805156"/>
                      </a:ext>
                    </a:extLst>
                  </a:tr>
                  <a:tr h="262609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 b="0" dirty="0">
                            <a:effectLst/>
                            <a:latin typeface="+mn-lt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>
                        <a:solidFill>
                          <a:schemeClr val="accent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 dirty="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253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101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230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extLst>
                      <a:ext uri="{0D108BD9-81ED-4DB2-BD59-A6C34878D82A}">
                        <a16:rowId xmlns:a16="http://schemas.microsoft.com/office/drawing/2014/main" val="1123644038"/>
                      </a:ext>
                    </a:extLst>
                  </a:tr>
                  <a:tr h="262609"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 xmlns:m="http://schemas.openxmlformats.org/officeDocument/2006/math">
                              <m:r>
                                <m:rPr>
                                  <m:sty m:val="p"/>
                                </m:rPr>
                                <a:rPr lang="en-US" sz="1400" b="0" smtClean="0">
                                  <a:effectLst/>
                                  <a:latin typeface="Cambria Math" panose="02040503050406030204" pitchFamily="18" charset="0"/>
                                </a:rPr>
                                <m:t>Δ</m:t>
                              </m:r>
                              <m:r>
                                <m:rPr>
                                  <m:sty m:val="p"/>
                                </m:rPr>
                                <a:rPr lang="en-US" sz="1400" b="0" i="1" smtClean="0">
                                  <a:effectLst/>
                                  <a:latin typeface="Cambria Math" panose="02040503050406030204" pitchFamily="18" charset="0"/>
                                </a:rPr>
                                <m:t>RENT</m:t>
                              </m:r>
                              <m:r>
                                <a:rPr lang="en-US" sz="1400" b="0" smtClean="0">
                                  <a:effectLst/>
                                  <a:latin typeface="Cambria Math" panose="02040503050406030204" pitchFamily="18" charset="0"/>
                                </a:rPr>
                                <m:t>× </m:t>
                              </m:r>
                            </m:oMath>
                          </a14:m>
                          <a:r>
                            <a:rPr lang="en-US" sz="1400" b="0" dirty="0">
                              <a:effectLst/>
                              <a:latin typeface="+mn-lt"/>
                            </a:rPr>
                            <a:t>Fiscal</a:t>
                          </a:r>
                          <a:r>
                            <a:rPr lang="en-US" sz="1400" b="0" baseline="0" dirty="0">
                              <a:effectLst/>
                              <a:latin typeface="+mn-lt"/>
                            </a:rPr>
                            <a:t> rules</a:t>
                          </a:r>
                          <a:endParaRPr lang="en-US" sz="1400" b="0" dirty="0">
                            <a:effectLst/>
                            <a:latin typeface="+mn-lt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>
                        <a:solidFill>
                          <a:schemeClr val="accent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0.497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0.12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0.413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extLst>
                      <a:ext uri="{0D108BD9-81ED-4DB2-BD59-A6C34878D82A}">
                        <a16:rowId xmlns:a16="http://schemas.microsoft.com/office/drawing/2014/main" val="1786418016"/>
                      </a:ext>
                    </a:extLst>
                  </a:tr>
                  <a:tr h="262609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 b="0" dirty="0">
                            <a:effectLst/>
                            <a:latin typeface="+mn-lt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>
                        <a:solidFill>
                          <a:schemeClr val="accent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 dirty="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175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084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107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extLst>
                      <a:ext uri="{0D108BD9-81ED-4DB2-BD59-A6C34878D82A}">
                        <a16:rowId xmlns:a16="http://schemas.microsoft.com/office/drawing/2014/main" val="1038637822"/>
                      </a:ext>
                    </a:extLst>
                  </a:tr>
                  <a:tr h="262609"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 xmlns:m="http://schemas.openxmlformats.org/officeDocument/2006/math">
                              <m:r>
                                <m:rPr>
                                  <m:sty m:val="p"/>
                                </m:rPr>
                                <a:rPr lang="en-US" sz="1400" b="0" smtClean="0">
                                  <a:effectLst/>
                                  <a:latin typeface="Cambria Math" panose="02040503050406030204" pitchFamily="18" charset="0"/>
                                </a:rPr>
                                <m:t>Δ</m:t>
                              </m:r>
                              <m:r>
                                <m:rPr>
                                  <m:sty m:val="p"/>
                                </m:rPr>
                                <a:rPr lang="en-US" sz="1400" b="0" i="1" smtClean="0">
                                  <a:effectLst/>
                                  <a:latin typeface="Cambria Math" panose="02040503050406030204" pitchFamily="18" charset="0"/>
                                </a:rPr>
                                <m:t>RENT</m:t>
                              </m:r>
                              <m:r>
                                <a:rPr lang="en-US" sz="1400" b="0" smtClean="0">
                                  <a:effectLst/>
                                  <a:latin typeface="Cambria Math" panose="02040503050406030204" pitchFamily="18" charset="0"/>
                                </a:rPr>
                                <m:t>× </m:t>
                              </m:r>
                            </m:oMath>
                          </a14:m>
                          <a:r>
                            <a:rPr lang="en-US" sz="1400" b="0" dirty="0">
                              <a:effectLst/>
                              <a:latin typeface="+mn-lt"/>
                            </a:rPr>
                            <a:t>Exchange</a:t>
                          </a:r>
                          <a:r>
                            <a:rPr lang="en-US" sz="1400" b="0" baseline="0" dirty="0">
                              <a:effectLst/>
                              <a:latin typeface="+mn-lt"/>
                            </a:rPr>
                            <a:t> rate flexibility</a:t>
                          </a:r>
                          <a:endParaRPr lang="en-US" sz="1400" b="0" dirty="0">
                            <a:effectLst/>
                            <a:latin typeface="+mn-lt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>
                        <a:solidFill>
                          <a:schemeClr val="accent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332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0.004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299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extLst>
                      <a:ext uri="{0D108BD9-81ED-4DB2-BD59-A6C34878D82A}">
                        <a16:rowId xmlns:a16="http://schemas.microsoft.com/office/drawing/2014/main" val="3690874779"/>
                      </a:ext>
                    </a:extLst>
                  </a:tr>
                  <a:tr h="262609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 b="0" dirty="0">
                            <a:effectLst/>
                            <a:latin typeface="+mn-lt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>
                        <a:solidFill>
                          <a:schemeClr val="accent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 dirty="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041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026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023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extLst>
                      <a:ext uri="{0D108BD9-81ED-4DB2-BD59-A6C34878D82A}">
                        <a16:rowId xmlns:a16="http://schemas.microsoft.com/office/drawing/2014/main" val="2587575542"/>
                      </a:ext>
                    </a:extLst>
                  </a:tr>
                  <a:tr h="262609"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 xmlns:m="http://schemas.openxmlformats.org/officeDocument/2006/math">
                              <m:r>
                                <m:rPr>
                                  <m:sty m:val="p"/>
                                </m:rPr>
                                <a:rPr lang="en-US" sz="1400" b="0" smtClean="0">
                                  <a:effectLst/>
                                  <a:latin typeface="Cambria Math" panose="02040503050406030204" pitchFamily="18" charset="0"/>
                                </a:rPr>
                                <m:t>Δ</m:t>
                              </m:r>
                              <m:r>
                                <m:rPr>
                                  <m:sty m:val="p"/>
                                </m:rPr>
                                <a:rPr lang="en-US" sz="1400" b="0" i="1" smtClean="0">
                                  <a:effectLst/>
                                  <a:latin typeface="Cambria Math" panose="02040503050406030204" pitchFamily="18" charset="0"/>
                                </a:rPr>
                                <m:t>RENT</m:t>
                              </m:r>
                              <m:r>
                                <a:rPr lang="en-US" sz="1400" b="0" smtClean="0">
                                  <a:effectLst/>
                                  <a:latin typeface="Cambria Math" panose="02040503050406030204" pitchFamily="18" charset="0"/>
                                </a:rPr>
                                <m:t>× </m:t>
                              </m:r>
                            </m:oMath>
                          </a14:m>
                          <a:r>
                            <a:rPr lang="en-US" sz="1400" b="0" dirty="0">
                              <a:effectLst/>
                              <a:latin typeface="+mn-lt"/>
                            </a:rPr>
                            <a:t>IMF program</a:t>
                          </a:r>
                          <a:endParaRPr lang="en-US" sz="1400" b="0" dirty="0">
                            <a:effectLst/>
                            <a:latin typeface="+mn-lt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>
                        <a:solidFill>
                          <a:schemeClr val="accent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676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038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41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extLst>
                      <a:ext uri="{0D108BD9-81ED-4DB2-BD59-A6C34878D82A}">
                        <a16:rowId xmlns:a16="http://schemas.microsoft.com/office/drawing/2014/main" val="228113045"/>
                      </a:ext>
                    </a:extLst>
                  </a:tr>
                  <a:tr h="262609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 b="0" dirty="0">
                            <a:effectLst/>
                            <a:latin typeface="+mn-lt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>
                        <a:solidFill>
                          <a:schemeClr val="accent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 dirty="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(0.332)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119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250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extLst>
                      <a:ext uri="{0D108BD9-81ED-4DB2-BD59-A6C34878D82A}">
                        <a16:rowId xmlns:a16="http://schemas.microsoft.com/office/drawing/2014/main" val="2282890799"/>
                      </a:ext>
                    </a:extLst>
                  </a:tr>
                  <a:tr h="262679"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b="0" dirty="0">
                              <a:effectLst/>
                              <a:latin typeface="+mn-lt"/>
                            </a:rPr>
                            <a:t>Constant</a:t>
                          </a:r>
                          <a:endParaRPr lang="en-US" sz="1400" b="0" dirty="0">
                            <a:effectLst/>
                            <a:latin typeface="+mn-lt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>
                        <a:solidFill>
                          <a:schemeClr val="accent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755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037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391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4.246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1.164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4.281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extLst>
                      <a:ext uri="{0D108BD9-81ED-4DB2-BD59-A6C34878D82A}">
                        <a16:rowId xmlns:a16="http://schemas.microsoft.com/office/drawing/2014/main" val="697913130"/>
                      </a:ext>
                    </a:extLst>
                  </a:tr>
                  <a:tr h="262609"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b="0" dirty="0">
                              <a:effectLst/>
                              <a:latin typeface="+mn-lt"/>
                            </a:rPr>
                            <a:t> </a:t>
                          </a:r>
                          <a:endParaRPr lang="en-US" sz="1400" b="0" dirty="0">
                            <a:effectLst/>
                            <a:latin typeface="+mn-lt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>
                        <a:solidFill>
                          <a:schemeClr val="accent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096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005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050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4.430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1.877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3.078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extLst>
                      <a:ext uri="{0D108BD9-81ED-4DB2-BD59-A6C34878D82A}">
                        <a16:rowId xmlns:a16="http://schemas.microsoft.com/office/drawing/2014/main" val="3843225716"/>
                      </a:ext>
                    </a:extLst>
                  </a:tr>
                  <a:tr h="262609"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b="0" dirty="0">
                              <a:effectLst/>
                              <a:latin typeface="+mn-lt"/>
                            </a:rPr>
                            <a:t>Observations</a:t>
                          </a:r>
                          <a:endParaRPr lang="en-US" sz="1400" b="0" dirty="0">
                            <a:effectLst/>
                            <a:latin typeface="+mn-lt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>
                        <a:solidFill>
                          <a:schemeClr val="accent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584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546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546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485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477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477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extLst>
                      <a:ext uri="{0D108BD9-81ED-4DB2-BD59-A6C34878D82A}">
                        <a16:rowId xmlns:a16="http://schemas.microsoft.com/office/drawing/2014/main" val="3692240788"/>
                      </a:ext>
                    </a:extLst>
                  </a:tr>
                  <a:tr h="262609"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b="0" dirty="0">
                              <a:effectLst/>
                              <a:latin typeface="+mn-lt"/>
                            </a:rPr>
                            <a:t>Number of countries</a:t>
                          </a:r>
                          <a:endParaRPr lang="en-US" sz="1400" b="0" dirty="0">
                            <a:effectLst/>
                            <a:latin typeface="+mn-lt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>
                        <a:solidFill>
                          <a:schemeClr val="accent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0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0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0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7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7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7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extLst>
                      <a:ext uri="{0D108BD9-81ED-4DB2-BD59-A6C34878D82A}">
                        <a16:rowId xmlns:a16="http://schemas.microsoft.com/office/drawing/2014/main" val="131294063"/>
                      </a:ext>
                    </a:extLst>
                  </a:tr>
                  <a:tr h="262609"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b="0" dirty="0">
                              <a:effectLst/>
                              <a:latin typeface="+mn-lt"/>
                            </a:rPr>
                            <a:t>R</a:t>
                          </a:r>
                          <a:r>
                            <a:rPr lang="en-US" sz="1400" b="0" baseline="30000" dirty="0">
                              <a:effectLst/>
                              <a:latin typeface="+mn-lt"/>
                            </a:rPr>
                            <a:t>2</a:t>
                          </a:r>
                          <a:endParaRPr lang="en-US" sz="1400" b="0" dirty="0">
                            <a:effectLst/>
                            <a:latin typeface="+mn-lt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>
                        <a:solidFill>
                          <a:schemeClr val="accent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33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247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326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536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304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0.492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extLst>
                      <a:ext uri="{0D108BD9-81ED-4DB2-BD59-A6C34878D82A}">
                        <a16:rowId xmlns:a16="http://schemas.microsoft.com/office/drawing/2014/main" val="1322398507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3" name="Table 2">
                <a:extLst>
                  <a:ext uri="{FF2B5EF4-FFF2-40B4-BE49-F238E27FC236}">
                    <a16:creationId xmlns:a16="http://schemas.microsoft.com/office/drawing/2014/main" id="{F07FE989-67EC-BBE0-C6A6-0D1B02D4AE95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678871441"/>
                  </p:ext>
                </p:extLst>
              </p:nvPr>
            </p:nvGraphicFramePr>
            <p:xfrm>
              <a:off x="631774" y="1106071"/>
              <a:ext cx="10687691" cy="4976717"/>
            </p:xfrm>
            <a:graphic>
              <a:graphicData uri="http://schemas.openxmlformats.org/drawingml/2006/table">
                <a:tbl>
                  <a:tblPr firstRow="1" firstCol="1" bandRow="1">
                    <a:tableStyleId>{5C22544A-7EE6-4342-B048-85BDC9FD1C3A}</a:tableStyleId>
                  </a:tblPr>
                  <a:tblGrid>
                    <a:gridCol w="3053782">
                      <a:extLst>
                        <a:ext uri="{9D8B030D-6E8A-4147-A177-3AD203B41FA5}">
                          <a16:colId xmlns:a16="http://schemas.microsoft.com/office/drawing/2014/main" val="3636455942"/>
                        </a:ext>
                      </a:extLst>
                    </a:gridCol>
                    <a:gridCol w="1073723">
                      <a:extLst>
                        <a:ext uri="{9D8B030D-6E8A-4147-A177-3AD203B41FA5}">
                          <a16:colId xmlns:a16="http://schemas.microsoft.com/office/drawing/2014/main" val="2543184670"/>
                        </a:ext>
                      </a:extLst>
                    </a:gridCol>
                    <a:gridCol w="1323710">
                      <a:extLst>
                        <a:ext uri="{9D8B030D-6E8A-4147-A177-3AD203B41FA5}">
                          <a16:colId xmlns:a16="http://schemas.microsoft.com/office/drawing/2014/main" val="1793367630"/>
                        </a:ext>
                      </a:extLst>
                    </a:gridCol>
                    <a:gridCol w="1292873">
                      <a:extLst>
                        <a:ext uri="{9D8B030D-6E8A-4147-A177-3AD203B41FA5}">
                          <a16:colId xmlns:a16="http://schemas.microsoft.com/office/drawing/2014/main" val="4104081199"/>
                        </a:ext>
                      </a:extLst>
                    </a:gridCol>
                    <a:gridCol w="1367762">
                      <a:extLst>
                        <a:ext uri="{9D8B030D-6E8A-4147-A177-3AD203B41FA5}">
                          <a16:colId xmlns:a16="http://schemas.microsoft.com/office/drawing/2014/main" val="3517601034"/>
                        </a:ext>
                      </a:extLst>
                    </a:gridCol>
                    <a:gridCol w="1280763">
                      <a:extLst>
                        <a:ext uri="{9D8B030D-6E8A-4147-A177-3AD203B41FA5}">
                          <a16:colId xmlns:a16="http://schemas.microsoft.com/office/drawing/2014/main" val="972999081"/>
                        </a:ext>
                      </a:extLst>
                    </a:gridCol>
                    <a:gridCol w="1295078">
                      <a:extLst>
                        <a:ext uri="{9D8B030D-6E8A-4147-A177-3AD203B41FA5}">
                          <a16:colId xmlns:a16="http://schemas.microsoft.com/office/drawing/2014/main" val="4156019505"/>
                        </a:ext>
                      </a:extLst>
                    </a:gridCol>
                  </a:tblGrid>
                  <a:tr h="262609"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 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ctr">
                        <a:solidFill>
                          <a:schemeClr val="accent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1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(2)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3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4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5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(6)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ctr"/>
                    </a:tc>
                    <a:extLst>
                      <a:ext uri="{0D108BD9-81ED-4DB2-BD59-A6C34878D82A}">
                        <a16:rowId xmlns:a16="http://schemas.microsoft.com/office/drawing/2014/main" val="2595699076"/>
                      </a:ext>
                    </a:extLst>
                  </a:tr>
                  <a:tr h="274762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25193" marR="25193" marT="0" marB="0" anchor="ctr">
                        <a:blipFill>
                          <a:blip r:embed="rId3"/>
                          <a:stretch>
                            <a:fillRect l="-200" t="-104444" r="-251098" b="-166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Tot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Inv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Cur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Tot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Inv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Cur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ctr"/>
                    </a:tc>
                    <a:extLst>
                      <a:ext uri="{0D108BD9-81ED-4DB2-BD59-A6C34878D82A}">
                        <a16:rowId xmlns:a16="http://schemas.microsoft.com/office/drawing/2014/main" val="3640624027"/>
                      </a:ext>
                    </a:extLst>
                  </a:tr>
                  <a:tr h="237532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25193" marR="25193" marT="0" marB="0" anchor="b">
                        <a:blipFill>
                          <a:blip r:embed="rId3"/>
                          <a:stretch>
                            <a:fillRect l="-200" t="-235897" r="-251098" b="-181538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0.892***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0.157***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821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0.025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201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0.047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extLst>
                      <a:ext uri="{0D108BD9-81ED-4DB2-BD59-A6C34878D82A}">
                        <a16:rowId xmlns:a16="http://schemas.microsoft.com/office/drawing/2014/main" val="980544535"/>
                      </a:ext>
                    </a:extLst>
                  </a:tr>
                  <a:tr h="262609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 b="0" dirty="0">
                            <a:effectLst/>
                            <a:latin typeface="+mn-lt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>
                        <a:solidFill>
                          <a:schemeClr val="accent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278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0329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281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160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104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135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extLst>
                      <a:ext uri="{0D108BD9-81ED-4DB2-BD59-A6C34878D82A}">
                        <a16:rowId xmlns:a16="http://schemas.microsoft.com/office/drawing/2014/main" val="2522251931"/>
                      </a:ext>
                    </a:extLst>
                  </a:tr>
                  <a:tr h="262609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25193" marR="25193" marT="0" marB="0" anchor="b">
                        <a:blipFill>
                          <a:blip r:embed="rId3"/>
                          <a:stretch>
                            <a:fillRect l="-200" t="-404651" r="-251098" b="-1446512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423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012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366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extLst>
                      <a:ext uri="{0D108BD9-81ED-4DB2-BD59-A6C34878D82A}">
                        <a16:rowId xmlns:a16="http://schemas.microsoft.com/office/drawing/2014/main" val="631150595"/>
                      </a:ext>
                    </a:extLst>
                  </a:tr>
                  <a:tr h="262609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 b="0" dirty="0">
                            <a:effectLst/>
                            <a:latin typeface="+mn-lt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>
                        <a:solidFill>
                          <a:schemeClr val="accent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150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030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126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extLst>
                      <a:ext uri="{0D108BD9-81ED-4DB2-BD59-A6C34878D82A}">
                        <a16:rowId xmlns:a16="http://schemas.microsoft.com/office/drawing/2014/main" val="2889398158"/>
                      </a:ext>
                    </a:extLst>
                  </a:tr>
                  <a:tr h="262609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25193" marR="25193" marT="0" marB="0" anchor="b">
                        <a:blipFill>
                          <a:blip r:embed="rId3"/>
                          <a:stretch>
                            <a:fillRect l="-200" t="-606977" r="-251098" b="-124418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0.605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0.102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0.465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extLst>
                      <a:ext uri="{0D108BD9-81ED-4DB2-BD59-A6C34878D82A}">
                        <a16:rowId xmlns:a16="http://schemas.microsoft.com/office/drawing/2014/main" val="3023805156"/>
                      </a:ext>
                    </a:extLst>
                  </a:tr>
                  <a:tr h="262609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 b="0" dirty="0">
                            <a:effectLst/>
                            <a:latin typeface="+mn-lt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>
                        <a:solidFill>
                          <a:schemeClr val="accent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 dirty="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253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101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230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extLst>
                      <a:ext uri="{0D108BD9-81ED-4DB2-BD59-A6C34878D82A}">
                        <a16:rowId xmlns:a16="http://schemas.microsoft.com/office/drawing/2014/main" val="1123644038"/>
                      </a:ext>
                    </a:extLst>
                  </a:tr>
                  <a:tr h="262609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25193" marR="25193" marT="0" marB="0" anchor="b">
                        <a:blipFill>
                          <a:blip r:embed="rId3"/>
                          <a:stretch>
                            <a:fillRect l="-200" t="-806977" r="-251098" b="-104418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0.497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0.12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0.413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extLst>
                      <a:ext uri="{0D108BD9-81ED-4DB2-BD59-A6C34878D82A}">
                        <a16:rowId xmlns:a16="http://schemas.microsoft.com/office/drawing/2014/main" val="1786418016"/>
                      </a:ext>
                    </a:extLst>
                  </a:tr>
                  <a:tr h="262609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 b="0" dirty="0">
                            <a:effectLst/>
                            <a:latin typeface="+mn-lt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>
                        <a:solidFill>
                          <a:schemeClr val="accent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 dirty="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175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084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107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extLst>
                      <a:ext uri="{0D108BD9-81ED-4DB2-BD59-A6C34878D82A}">
                        <a16:rowId xmlns:a16="http://schemas.microsoft.com/office/drawing/2014/main" val="1038637822"/>
                      </a:ext>
                    </a:extLst>
                  </a:tr>
                  <a:tr h="262609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25193" marR="25193" marT="0" marB="0" anchor="b">
                        <a:blipFill>
                          <a:blip r:embed="rId3"/>
                          <a:stretch>
                            <a:fillRect l="-200" t="-1006977" r="-251098" b="-84418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332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0.004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299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extLst>
                      <a:ext uri="{0D108BD9-81ED-4DB2-BD59-A6C34878D82A}">
                        <a16:rowId xmlns:a16="http://schemas.microsoft.com/office/drawing/2014/main" val="3690874779"/>
                      </a:ext>
                    </a:extLst>
                  </a:tr>
                  <a:tr h="262609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 b="0" dirty="0">
                            <a:effectLst/>
                            <a:latin typeface="+mn-lt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>
                        <a:solidFill>
                          <a:schemeClr val="accent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 dirty="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041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026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023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extLst>
                      <a:ext uri="{0D108BD9-81ED-4DB2-BD59-A6C34878D82A}">
                        <a16:rowId xmlns:a16="http://schemas.microsoft.com/office/drawing/2014/main" val="2587575542"/>
                      </a:ext>
                    </a:extLst>
                  </a:tr>
                  <a:tr h="262609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25193" marR="25193" marT="0" marB="0" anchor="b">
                        <a:blipFill>
                          <a:blip r:embed="rId3"/>
                          <a:stretch>
                            <a:fillRect l="-200" t="-1206977" r="-251098" b="-64418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676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038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41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extLst>
                      <a:ext uri="{0D108BD9-81ED-4DB2-BD59-A6C34878D82A}">
                        <a16:rowId xmlns:a16="http://schemas.microsoft.com/office/drawing/2014/main" val="228113045"/>
                      </a:ext>
                    </a:extLst>
                  </a:tr>
                  <a:tr h="262609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 b="0" dirty="0">
                            <a:effectLst/>
                            <a:latin typeface="+mn-lt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>
                        <a:solidFill>
                          <a:schemeClr val="accent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 dirty="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(0.332)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119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250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extLst>
                      <a:ext uri="{0D108BD9-81ED-4DB2-BD59-A6C34878D82A}">
                        <a16:rowId xmlns:a16="http://schemas.microsoft.com/office/drawing/2014/main" val="2282890799"/>
                      </a:ext>
                    </a:extLst>
                  </a:tr>
                  <a:tr h="262679"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b="0" dirty="0">
                              <a:effectLst/>
                              <a:latin typeface="+mn-lt"/>
                            </a:rPr>
                            <a:t>Constant</a:t>
                          </a:r>
                          <a:endParaRPr lang="en-US" sz="1400" b="0" dirty="0">
                            <a:effectLst/>
                            <a:latin typeface="+mn-lt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>
                        <a:solidFill>
                          <a:schemeClr val="accent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755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037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391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4.246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1.164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4.281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extLst>
                      <a:ext uri="{0D108BD9-81ED-4DB2-BD59-A6C34878D82A}">
                        <a16:rowId xmlns:a16="http://schemas.microsoft.com/office/drawing/2014/main" val="697913130"/>
                      </a:ext>
                    </a:extLst>
                  </a:tr>
                  <a:tr h="262609"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b="0" dirty="0">
                              <a:effectLst/>
                              <a:latin typeface="+mn-lt"/>
                            </a:rPr>
                            <a:t> </a:t>
                          </a:r>
                          <a:endParaRPr lang="en-US" sz="1400" b="0" dirty="0">
                            <a:effectLst/>
                            <a:latin typeface="+mn-lt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>
                        <a:solidFill>
                          <a:schemeClr val="accent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096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005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050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4.430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1.877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3.078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extLst>
                      <a:ext uri="{0D108BD9-81ED-4DB2-BD59-A6C34878D82A}">
                        <a16:rowId xmlns:a16="http://schemas.microsoft.com/office/drawing/2014/main" val="3843225716"/>
                      </a:ext>
                    </a:extLst>
                  </a:tr>
                  <a:tr h="262609"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b="0" dirty="0">
                              <a:effectLst/>
                              <a:latin typeface="+mn-lt"/>
                            </a:rPr>
                            <a:t>Observations</a:t>
                          </a:r>
                          <a:endParaRPr lang="en-US" sz="1400" b="0" dirty="0">
                            <a:effectLst/>
                            <a:latin typeface="+mn-lt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>
                        <a:solidFill>
                          <a:schemeClr val="accent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584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546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546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485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477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477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extLst>
                      <a:ext uri="{0D108BD9-81ED-4DB2-BD59-A6C34878D82A}">
                        <a16:rowId xmlns:a16="http://schemas.microsoft.com/office/drawing/2014/main" val="3692240788"/>
                      </a:ext>
                    </a:extLst>
                  </a:tr>
                  <a:tr h="262609"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b="0" dirty="0">
                              <a:effectLst/>
                              <a:latin typeface="+mn-lt"/>
                            </a:rPr>
                            <a:t>Number of countries</a:t>
                          </a:r>
                          <a:endParaRPr lang="en-US" sz="1400" b="0" dirty="0">
                            <a:effectLst/>
                            <a:latin typeface="+mn-lt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>
                        <a:solidFill>
                          <a:schemeClr val="accent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0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0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0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7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7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7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extLst>
                      <a:ext uri="{0D108BD9-81ED-4DB2-BD59-A6C34878D82A}">
                        <a16:rowId xmlns:a16="http://schemas.microsoft.com/office/drawing/2014/main" val="131294063"/>
                      </a:ext>
                    </a:extLst>
                  </a:tr>
                  <a:tr h="262609"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b="0" dirty="0">
                              <a:effectLst/>
                              <a:latin typeface="+mn-lt"/>
                            </a:rPr>
                            <a:t>R</a:t>
                          </a:r>
                          <a:r>
                            <a:rPr lang="en-US" sz="1400" b="0" baseline="30000" dirty="0">
                              <a:effectLst/>
                              <a:latin typeface="+mn-lt"/>
                            </a:rPr>
                            <a:t>2</a:t>
                          </a:r>
                          <a:endParaRPr lang="en-US" sz="1400" b="0" dirty="0">
                            <a:effectLst/>
                            <a:latin typeface="+mn-lt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>
                        <a:solidFill>
                          <a:schemeClr val="accent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33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247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326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536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304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0.492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25193" marR="25193" marT="0" marB="0" anchor="b"/>
                    </a:tc>
                    <a:extLst>
                      <a:ext uri="{0D108BD9-81ED-4DB2-BD59-A6C34878D82A}">
                        <a16:rowId xmlns:a16="http://schemas.microsoft.com/office/drawing/2014/main" val="1322398507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8" name="TextBox 7">
            <a:extLst>
              <a:ext uri="{FF2B5EF4-FFF2-40B4-BE49-F238E27FC236}">
                <a16:creationId xmlns:a16="http://schemas.microsoft.com/office/drawing/2014/main" id="{91678A21-5EEF-0AD3-F987-7BA57A5AE31E}"/>
              </a:ext>
            </a:extLst>
          </p:cNvPr>
          <p:cNvSpPr txBox="1"/>
          <p:nvPr/>
        </p:nvSpPr>
        <p:spPr>
          <a:xfrm>
            <a:off x="11813997" y="6532801"/>
            <a:ext cx="288585" cy="26668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fld id="{EFF4D7D2-636D-40D9-93B6-0CBAC255A5A5}" type="slidenum">
              <a:rPr lang="en-US" sz="1200" smtClean="0"/>
              <a:t>13</a:t>
            </a:fld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760124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316B8079-4A76-825B-BA7C-2BAA5881359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23342" y="223718"/>
            <a:ext cx="7943141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2800" spc="20" dirty="0">
                <a:solidFill>
                  <a:schemeClr val="accent1"/>
                </a:solidFill>
              </a:rPr>
              <a:t>Models with asymmetri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51FD9DA-198E-9CB2-345D-951617A3D39E}"/>
              </a:ext>
            </a:extLst>
          </p:cNvPr>
          <p:cNvCxnSpPr/>
          <p:nvPr/>
        </p:nvCxnSpPr>
        <p:spPr>
          <a:xfrm>
            <a:off x="526473" y="804589"/>
            <a:ext cx="3472872" cy="0"/>
          </a:xfrm>
          <a:prstGeom prst="line">
            <a:avLst/>
          </a:prstGeom>
          <a:ln w="19050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2ECD95D5-F9F2-847A-862D-7EB2FB44C2CC}"/>
                  </a:ext>
                </a:extLst>
              </p:cNvPr>
              <p:cNvSpPr txBox="1"/>
              <p:nvPr/>
            </p:nvSpPr>
            <p:spPr>
              <a:xfrm>
                <a:off x="454470" y="1257383"/>
                <a:ext cx="11609304" cy="4443424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/>
              <a:lstStyle>
                <a:defPPr>
                  <a:defRPr lang="en-US"/>
                </a:defPPr>
                <a:lvl1pPr indent="0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  <a:defRPr sz="1600"/>
                </a:lvl1pPr>
                <a:lvl2pPr marL="6858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/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/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5pPr>
                <a:lvl6pPr marL="25146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6pPr>
                <a:lvl7pPr marL="29718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7pPr>
                <a:lvl8pPr marL="3429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8pPr>
                <a:lvl9pPr marL="3886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9pPr>
              </a:lstStyle>
              <a:p>
                <a:pPr marL="342900" indent="-342900">
                  <a:lnSpc>
                    <a:spcPct val="150000"/>
                  </a:lnSpc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en-US" sz="2400" dirty="0"/>
                  <a:t>Variation asymmetry:</a:t>
                </a:r>
              </a:p>
              <a:p>
                <a:pPr>
                  <a:lnSpc>
                    <a:spcPct val="150000"/>
                  </a:lnSpc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sz="2400" i="1" smtClean="0"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Δ</m:t>
                      </m:r>
                      <m:sSub>
                        <m:sSubPr>
                          <m:ctrlP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𝐸𝑋𝑃</m:t>
                          </m:r>
                        </m:e>
                        <m:sub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𝑖</m:t>
                          </m:r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,</m:t>
                          </m:r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sz="2400" i="1"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2,</m:t>
                          </m:r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sz="2400" i="1"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𝜇</m:t>
                          </m:r>
                        </m:e>
                        <m:sub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1</m:t>
                          </m:r>
                        </m:sub>
                      </m:sSub>
                      <m:sSub>
                        <m:sSubPr>
                          <m:ctrlP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sSup>
                            <m:sSupPr>
                              <m:ctrlPr>
                                <a:rPr lang="en-US" sz="24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</m:ctrlPr>
                            </m:sSupPr>
                            <m:e>
                              <m:r>
                                <m:rPr>
                                  <m:sty m:val="p"/>
                                </m:rPr>
                                <a:rPr lang="en-US" sz="24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Δ</m:t>
                              </m:r>
                            </m:e>
                            <m:sup>
                              <m:r>
                                <a:rPr lang="en-US" sz="24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+</m:t>
                              </m:r>
                            </m:sup>
                          </m:sSup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𝑅𝐸𝑁𝑇</m:t>
                          </m:r>
                        </m:e>
                        <m:sub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𝑖</m:t>
                          </m:r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,</m:t>
                          </m:r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sz="2400" i="1"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𝜇</m:t>
                          </m:r>
                        </m:e>
                        <m:sub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2</m:t>
                          </m:r>
                        </m:sub>
                      </m:sSub>
                      <m:sSub>
                        <m:sSubPr>
                          <m:ctrlP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sSup>
                            <m:sSupPr>
                              <m:ctrlPr>
                                <a:rPr lang="en-US" sz="24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</m:ctrlPr>
                            </m:sSupPr>
                            <m:e>
                              <m:r>
                                <m:rPr>
                                  <m:sty m:val="p"/>
                                </m:rPr>
                                <a:rPr lang="en-US" sz="24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Δ</m:t>
                              </m:r>
                            </m:e>
                            <m:sup>
                              <m:r>
                                <a:rPr lang="en-US" sz="24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−</m:t>
                              </m:r>
                            </m:sup>
                          </m:sSup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𝑅𝐸𝑁𝑇</m:t>
                          </m:r>
                        </m:e>
                        <m:sub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𝑖</m:t>
                          </m:r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,</m:t>
                          </m:r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sz="2400" i="1"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𝜀</m:t>
                          </m:r>
                        </m:e>
                        <m:sub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𝑖</m:t>
                          </m:r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,</m:t>
                          </m:r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𝑡</m:t>
                          </m:r>
                        </m:sub>
                      </m:sSub>
                    </m:oMath>
                  </m:oMathPara>
                </a14:m>
                <a:endParaRPr lang="en-US" sz="2400" dirty="0"/>
              </a:p>
              <a:p>
                <a:pPr marL="342900" indent="-342900">
                  <a:lnSpc>
                    <a:spcPct val="150000"/>
                  </a:lnSpc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en-US" sz="2400" dirty="0"/>
                  <a:t>Position asymmetry:</a:t>
                </a:r>
              </a:p>
              <a:p>
                <a:pPr>
                  <a:lnSpc>
                    <a:spcPct val="150000"/>
                  </a:lnSpc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sz="2400" i="1" smtClean="0"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Δ</m:t>
                      </m:r>
                      <m:sSub>
                        <m:sSubPr>
                          <m:ctrlP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𝐸𝑋𝑃</m:t>
                          </m:r>
                        </m:e>
                        <m:sub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𝑖</m:t>
                          </m:r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,</m:t>
                          </m:r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sz="2400" i="1"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3,</m:t>
                          </m:r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sz="2400" i="1"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𝛿</m:t>
                          </m:r>
                        </m:e>
                        <m:sub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1</m:t>
                          </m:r>
                        </m:sub>
                      </m:sSub>
                      <m:sSub>
                        <m:sSubPr>
                          <m:ctrlP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Δ</m:t>
                          </m:r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𝑅𝐸𝑁</m:t>
                          </m:r>
                          <m:sSub>
                            <m:sSubPr>
                              <m:ctrlPr>
                                <a:rPr lang="en-US" sz="24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𝑇</m:t>
                              </m:r>
                            </m:e>
                            <m:sub>
                              <m:r>
                                <a:rPr lang="en-US" sz="24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𝐻</m:t>
                              </m:r>
                            </m:sub>
                          </m:sSub>
                        </m:e>
                        <m:sub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𝑖</m:t>
                          </m:r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,</m:t>
                          </m:r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sz="2400" i="1"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𝛿</m:t>
                          </m:r>
                        </m:e>
                        <m:sub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2</m:t>
                          </m:r>
                        </m:sub>
                      </m:sSub>
                      <m:sSub>
                        <m:sSubPr>
                          <m:ctrlP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Δ</m:t>
                          </m:r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𝑅𝐸𝑁</m:t>
                          </m:r>
                          <m:sSub>
                            <m:sSubPr>
                              <m:ctrlPr>
                                <a:rPr lang="en-US" sz="24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𝑇</m:t>
                              </m:r>
                            </m:e>
                            <m:sub>
                              <m:r>
                                <a:rPr lang="en-US" sz="24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𝐿</m:t>
                              </m:r>
                            </m:sub>
                          </m:sSub>
                        </m:e>
                        <m:sub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𝑖</m:t>
                          </m:r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,</m:t>
                          </m:r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sz="2400" i="1"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𝜀</m:t>
                          </m:r>
                        </m:e>
                        <m:sub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𝑖</m:t>
                          </m:r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,</m:t>
                          </m:r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𝑡</m:t>
                          </m:r>
                        </m:sub>
                      </m:sSub>
                    </m:oMath>
                  </m:oMathPara>
                </a14:m>
                <a:endParaRPr lang="en-US" sz="2400" i="1" dirty="0"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pPr marL="342900" indent="-342900">
                  <a:lnSpc>
                    <a:spcPct val="150000"/>
                  </a:lnSpc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en-US" sz="2400" dirty="0"/>
                  <a:t>All combined:</a:t>
                </a:r>
              </a:p>
              <a:p>
                <a:pPr>
                  <a:lnSpc>
                    <a:spcPct val="150000"/>
                  </a:lnSpc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sz="2400" i="1" smtClean="0"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Δ</m:t>
                      </m:r>
                      <m:sSub>
                        <m:sSubPr>
                          <m:ctrlP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𝐸𝑋𝑃</m:t>
                          </m:r>
                        </m:e>
                        <m:sub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𝑖</m:t>
                          </m:r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,</m:t>
                          </m:r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sz="2400" i="1"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4,</m:t>
                          </m:r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sz="2400" i="1"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1</m:t>
                          </m:r>
                        </m:sub>
                      </m:sSub>
                      <m:sSub>
                        <m:sSubPr>
                          <m:ctrlP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sSup>
                            <m:sSupPr>
                              <m:ctrlPr>
                                <a:rPr lang="en-US" sz="24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</m:ctrlPr>
                            </m:sSupPr>
                            <m:e>
                              <m:r>
                                <m:rPr>
                                  <m:sty m:val="p"/>
                                </m:rPr>
                                <a:rPr lang="en-US" sz="24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Δ</m:t>
                              </m:r>
                            </m:e>
                            <m:sup>
                              <m:r>
                                <a:rPr lang="en-US" sz="24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+</m:t>
                              </m:r>
                            </m:sup>
                          </m:sSup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𝑅𝐸𝑁</m:t>
                          </m:r>
                          <m:sSub>
                            <m:sSubPr>
                              <m:ctrlPr>
                                <a:rPr lang="en-US" sz="24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𝑇</m:t>
                              </m:r>
                            </m:e>
                            <m:sub>
                              <m:r>
                                <a:rPr lang="en-US" sz="24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𝐻</m:t>
                              </m:r>
                            </m:sub>
                          </m:sSub>
                        </m:e>
                        <m:sub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𝑖</m:t>
                          </m:r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,</m:t>
                          </m:r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sz="2400" i="1"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2</m:t>
                          </m:r>
                        </m:sub>
                      </m:sSub>
                      <m:sSub>
                        <m:sSubPr>
                          <m:ctrlP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sSup>
                            <m:sSupPr>
                              <m:ctrlPr>
                                <a:rPr lang="en-US" sz="24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</m:ctrlPr>
                            </m:sSupPr>
                            <m:e>
                              <m:r>
                                <m:rPr>
                                  <m:sty m:val="p"/>
                                </m:rPr>
                                <a:rPr lang="en-US" sz="24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Δ</m:t>
                              </m:r>
                            </m:e>
                            <m:sup>
                              <m:r>
                                <a:rPr lang="en-US" sz="24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−</m:t>
                              </m:r>
                            </m:sup>
                          </m:sSup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𝑅𝐸𝑁</m:t>
                          </m:r>
                          <m:sSub>
                            <m:sSubPr>
                              <m:ctrlPr>
                                <a:rPr lang="en-US" sz="24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𝑇</m:t>
                              </m:r>
                            </m:e>
                            <m:sub>
                              <m:r>
                                <a:rPr lang="en-US" sz="24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𝐻</m:t>
                              </m:r>
                            </m:sub>
                          </m:sSub>
                        </m:e>
                        <m:sub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𝑖</m:t>
                          </m:r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,</m:t>
                          </m:r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sz="2400" i="1"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3</m:t>
                          </m:r>
                        </m:sub>
                      </m:sSub>
                      <m:sSub>
                        <m:sSubPr>
                          <m:ctrlP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sSup>
                            <m:sSupPr>
                              <m:ctrlPr>
                                <a:rPr lang="en-US" sz="24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</m:ctrlPr>
                            </m:sSupPr>
                            <m:e>
                              <m:r>
                                <m:rPr>
                                  <m:sty m:val="p"/>
                                </m:rPr>
                                <a:rPr lang="en-US" sz="24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Δ</m:t>
                              </m:r>
                            </m:e>
                            <m:sup>
                              <m:r>
                                <a:rPr lang="en-US" sz="24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+</m:t>
                              </m:r>
                            </m:sup>
                          </m:sSup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𝑅𝐸𝑁</m:t>
                          </m:r>
                          <m:sSub>
                            <m:sSubPr>
                              <m:ctrlPr>
                                <a:rPr lang="en-US" sz="24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𝑇</m:t>
                              </m:r>
                            </m:e>
                            <m:sub>
                              <m:r>
                                <a:rPr lang="en-US" sz="24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𝐿</m:t>
                              </m:r>
                            </m:sub>
                          </m:sSub>
                        </m:e>
                        <m:sub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𝑖</m:t>
                          </m:r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,</m:t>
                          </m:r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sz="2400" i="1"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4</m:t>
                          </m:r>
                        </m:sub>
                      </m:sSub>
                      <m:sSub>
                        <m:sSubPr>
                          <m:ctrlP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sSup>
                            <m:sSupPr>
                              <m:ctrlPr>
                                <a:rPr lang="en-US" sz="24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</m:ctrlPr>
                            </m:sSupPr>
                            <m:e>
                              <m:r>
                                <m:rPr>
                                  <m:sty m:val="p"/>
                                </m:rPr>
                                <a:rPr lang="en-US" sz="24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Δ</m:t>
                              </m:r>
                            </m:e>
                            <m:sup>
                              <m:r>
                                <a:rPr lang="en-US" sz="24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−</m:t>
                              </m:r>
                            </m:sup>
                          </m:sSup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𝑅𝐸𝑁</m:t>
                          </m:r>
                          <m:sSub>
                            <m:sSubPr>
                              <m:ctrlPr>
                                <a:rPr lang="en-US" sz="24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𝑇</m:t>
                              </m:r>
                            </m:e>
                            <m:sub>
                              <m:r>
                                <a:rPr lang="en-US" sz="2400" i="1"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𝐿</m:t>
                              </m:r>
                            </m:sub>
                          </m:sSub>
                        </m:e>
                        <m:sub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𝑖</m:t>
                          </m:r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,</m:t>
                          </m:r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sz="2400" i="1"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𝜀</m:t>
                          </m:r>
                        </m:e>
                        <m:sub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𝑖</m:t>
                          </m:r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,</m:t>
                          </m:r>
                          <m:r>
                            <a:rPr lang="en-US" sz="2400" i="1"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𝑡</m:t>
                          </m:r>
                        </m:sub>
                      </m:sSub>
                    </m:oMath>
                  </m:oMathPara>
                </a14:m>
                <a:endParaRPr lang="en-US" sz="2400" i="1" dirty="0"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endParaRPr lang="en-US" sz="2400" dirty="0"/>
              </a:p>
              <a:p>
                <a:endParaRPr lang="en-US" sz="2400" dirty="0"/>
              </a:p>
            </p:txBody>
          </p:sp>
        </mc:Choice>
        <mc:Fallback xmlns="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2ECD95D5-F9F2-847A-862D-7EB2FB44C2C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4470" y="1257383"/>
                <a:ext cx="11609304" cy="4443424"/>
              </a:xfrm>
              <a:prstGeom prst="rect">
                <a:avLst/>
              </a:prstGeom>
              <a:blipFill>
                <a:blip r:embed="rId3"/>
                <a:stretch>
                  <a:fillRect l="-73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TextBox 7">
            <a:extLst>
              <a:ext uri="{FF2B5EF4-FFF2-40B4-BE49-F238E27FC236}">
                <a16:creationId xmlns:a16="http://schemas.microsoft.com/office/drawing/2014/main" id="{F148A899-87D6-BF20-415D-5A2F7A425693}"/>
              </a:ext>
            </a:extLst>
          </p:cNvPr>
          <p:cNvSpPr txBox="1"/>
          <p:nvPr/>
        </p:nvSpPr>
        <p:spPr>
          <a:xfrm>
            <a:off x="11813997" y="6532801"/>
            <a:ext cx="288585" cy="26668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fld id="{EFF4D7D2-636D-40D9-93B6-0CBAC255A5A5}" type="slidenum">
              <a:rPr lang="en-US" sz="1200" smtClean="0"/>
              <a:t>14</a:t>
            </a:fld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4754580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picture containing text, screenshot, diagram&#10;&#10;Description automatically generated">
            <a:extLst>
              <a:ext uri="{FF2B5EF4-FFF2-40B4-BE49-F238E27FC236}">
                <a16:creationId xmlns:a16="http://schemas.microsoft.com/office/drawing/2014/main" id="{68675FA6-1B20-6DCF-9EA9-07D558DC3B2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3" y="1069852"/>
            <a:ext cx="6085587" cy="43132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AA55E8F-A740-746E-6477-B377C2FE23F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08680" y="1143856"/>
            <a:ext cx="4866592" cy="4313199"/>
          </a:xfrm>
          <a:prstGeom prst="rect">
            <a:avLst/>
          </a:prstGeom>
        </p:spPr>
      </p:pic>
      <p:sp>
        <p:nvSpPr>
          <p:cNvPr id="5" name="object 2">
            <a:extLst>
              <a:ext uri="{FF2B5EF4-FFF2-40B4-BE49-F238E27FC236}">
                <a16:creationId xmlns:a16="http://schemas.microsoft.com/office/drawing/2014/main" id="{316B8079-4A76-825B-BA7C-2BAA5881359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23342" y="223718"/>
            <a:ext cx="10770082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en-US" sz="2800" spc="20" dirty="0">
                <a:solidFill>
                  <a:schemeClr val="accent1"/>
                </a:solidFill>
              </a:rPr>
              <a:t>Cyclical fiscal policies transmit oil price volatility to the economy 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51FD9DA-198E-9CB2-345D-951617A3D39E}"/>
              </a:ext>
            </a:extLst>
          </p:cNvPr>
          <p:cNvCxnSpPr/>
          <p:nvPr/>
        </p:nvCxnSpPr>
        <p:spPr>
          <a:xfrm>
            <a:off x="526473" y="804589"/>
            <a:ext cx="3472872" cy="0"/>
          </a:xfrm>
          <a:prstGeom prst="line">
            <a:avLst/>
          </a:prstGeom>
          <a:ln w="19050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2A6D40BB-1145-9EFF-908B-B74A52EB65A9}"/>
              </a:ext>
            </a:extLst>
          </p:cNvPr>
          <p:cNvSpPr txBox="1"/>
          <p:nvPr/>
        </p:nvSpPr>
        <p:spPr>
          <a:xfrm>
            <a:off x="11813997" y="6532801"/>
            <a:ext cx="288585" cy="26668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fld id="{EFF4D7D2-636D-40D9-93B6-0CBAC255A5A5}" type="slidenum">
              <a:rPr lang="en-US" sz="1200" smtClean="0"/>
              <a:t>2</a:t>
            </a:fld>
            <a:endParaRPr lang="en-US" sz="12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E623662-D682-3FA1-DB27-0D4E9BF51516}"/>
              </a:ext>
            </a:extLst>
          </p:cNvPr>
          <p:cNvSpPr txBox="1"/>
          <p:nvPr/>
        </p:nvSpPr>
        <p:spPr>
          <a:xfrm>
            <a:off x="6345936" y="837747"/>
            <a:ext cx="5758657" cy="321370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0" marR="0" algn="ctr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500" dirty="0">
                <a:solidFill>
                  <a:schemeClr val="tx1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Arial" panose="020B0604020202020204" pitchFamily="34" charset="0"/>
              </a:rPr>
              <a:t>Variations of oil price and oil revenue</a:t>
            </a:r>
            <a:r>
              <a:rPr lang="en-US" sz="15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  <a:cs typeface="Arial" panose="020B0604020202020204" pitchFamily="34" charset="0"/>
              </a:rPr>
              <a:t> </a:t>
            </a:r>
            <a:r>
              <a:rPr lang="en-US" sz="1500" dirty="0">
                <a:solidFill>
                  <a:schemeClr val="tx1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Arial" panose="020B0604020202020204" pitchFamily="34" charset="0"/>
              </a:rPr>
              <a:t>in the two largest oil exporter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2BC591C-63C2-102C-D67C-B2A92ABDF5AC}"/>
              </a:ext>
            </a:extLst>
          </p:cNvPr>
          <p:cNvSpPr txBox="1"/>
          <p:nvPr/>
        </p:nvSpPr>
        <p:spPr>
          <a:xfrm>
            <a:off x="526473" y="843390"/>
            <a:ext cx="5092280" cy="321370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0" marR="0" algn="ctr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500" dirty="0">
                <a:solidFill>
                  <a:schemeClr val="tx1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Arial" panose="020B0604020202020204" pitchFamily="34" charset="0"/>
              </a:rPr>
              <a:t>Public expenditure and oil and gas revenues are correlated</a:t>
            </a:r>
          </a:p>
        </p:txBody>
      </p:sp>
      <p:graphicFrame>
        <p:nvGraphicFramePr>
          <p:cNvPr id="21" name="Diagram 20">
            <a:extLst>
              <a:ext uri="{FF2B5EF4-FFF2-40B4-BE49-F238E27FC236}">
                <a16:creationId xmlns:a16="http://schemas.microsoft.com/office/drawing/2014/main" id="{20A8E42A-DD56-EBEC-0FE0-E5F2E0EE59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34977687"/>
              </p:ext>
            </p:extLst>
          </p:nvPr>
        </p:nvGraphicFramePr>
        <p:xfrm>
          <a:off x="2823728" y="5383052"/>
          <a:ext cx="6544543" cy="101952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4086079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20" grpId="0" animBg="1"/>
      <p:bldGraphic spid="21" grpId="0">
        <p:bldAsOne/>
      </p:bldGraphic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8344F609-40A1-6B84-0EAF-1FFC8EA42F9E}"/>
              </a:ext>
            </a:extLst>
          </p:cNvPr>
          <p:cNvSpPr/>
          <p:nvPr/>
        </p:nvSpPr>
        <p:spPr>
          <a:xfrm>
            <a:off x="1201648" y="941749"/>
            <a:ext cx="11521440" cy="5276169"/>
          </a:xfrm>
          <a:prstGeom prst="rect">
            <a:avLst/>
          </a:prstGeom>
          <a:solidFill>
            <a:schemeClr val="tx2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5" name="object 2">
            <a:extLst>
              <a:ext uri="{FF2B5EF4-FFF2-40B4-BE49-F238E27FC236}">
                <a16:creationId xmlns:a16="http://schemas.microsoft.com/office/drawing/2014/main" id="{316B8079-4A76-825B-BA7C-2BAA5881359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23342" y="223718"/>
            <a:ext cx="7943141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2800" spc="20" dirty="0">
                <a:solidFill>
                  <a:schemeClr val="accent1"/>
                </a:solidFill>
              </a:rPr>
              <a:t>Baseline model: panel data with interaction term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51FD9DA-198E-9CB2-345D-951617A3D39E}"/>
              </a:ext>
            </a:extLst>
          </p:cNvPr>
          <p:cNvCxnSpPr/>
          <p:nvPr/>
        </p:nvCxnSpPr>
        <p:spPr>
          <a:xfrm>
            <a:off x="526473" y="804589"/>
            <a:ext cx="3472872" cy="0"/>
          </a:xfrm>
          <a:prstGeom prst="line">
            <a:avLst/>
          </a:prstGeom>
          <a:ln w="19050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A10C8427-38ED-8381-49CC-BE7E3ADBDEC4}"/>
              </a:ext>
            </a:extLst>
          </p:cNvPr>
          <p:cNvSpPr txBox="1"/>
          <p:nvPr/>
        </p:nvSpPr>
        <p:spPr>
          <a:xfrm>
            <a:off x="11813997" y="6532801"/>
            <a:ext cx="288585" cy="26668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fld id="{EFF4D7D2-636D-40D9-93B6-0CBAC255A5A5}" type="slidenum">
              <a:rPr lang="en-US" sz="1200" smtClean="0"/>
              <a:t>3</a:t>
            </a:fld>
            <a:endParaRPr lang="en-US" sz="12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45E6964-6F3C-7D0B-CA04-8A9C5703DD6A}"/>
              </a:ext>
            </a:extLst>
          </p:cNvPr>
          <p:cNvSpPr txBox="1"/>
          <p:nvPr/>
        </p:nvSpPr>
        <p:spPr>
          <a:xfrm>
            <a:off x="769646" y="1152572"/>
            <a:ext cx="6589014" cy="400110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2000" dirty="0">
                <a:latin typeface="Cambria" panose="02040503050406030204" pitchFamily="18" charset="0"/>
                <a:ea typeface="Cambria" panose="02040503050406030204" pitchFamily="18" charset="0"/>
              </a:rPr>
              <a:t>30 ED oil and gas-exporting countries, from 2000 to 2020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678D14A6-F1E2-ADF9-D6A2-83E1D9921C8D}"/>
                  </a:ext>
                </a:extLst>
              </p:cNvPr>
              <p:cNvSpPr txBox="1"/>
              <p:nvPr/>
            </p:nvSpPr>
            <p:spPr>
              <a:xfrm>
                <a:off x="769646" y="1748431"/>
                <a:ext cx="8056280" cy="477888"/>
              </a:xfrm>
              <a:prstGeom prst="rect">
                <a:avLst/>
              </a:prstGeom>
              <a:ln/>
            </p:spPr>
            <p:style>
              <a:lnRef idx="1">
                <a:schemeClr val="accent2"/>
              </a:lnRef>
              <a:fillRef idx="2">
                <a:schemeClr val="accent2"/>
              </a:fillRef>
              <a:effectRef idx="1">
                <a:schemeClr val="accent2"/>
              </a:effectRef>
              <a:fontRef idx="minor">
                <a:schemeClr val="dk1"/>
              </a:fontRef>
            </p:style>
            <p:txBody>
              <a:bodyPr wrap="square">
                <a:spAutoFit/>
              </a:bodyPr>
              <a:lstStyle/>
              <a:p>
                <a:pPr lvl="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sz="2400" smtClean="0">
                          <a:latin typeface="Cambria Math" panose="02040503050406030204" pitchFamily="18" charset="0"/>
                        </a:rPr>
                        <m:t>Δ</m:t>
                      </m:r>
                      <m:sSub>
                        <m:sSubPr>
                          <m:ctrlPr>
                            <a:rPr lang="en-US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b="0" i="1">
                              <a:latin typeface="Cambria Math" panose="02040503050406030204" pitchFamily="18" charset="0"/>
                            </a:rPr>
                            <m:t>𝐸𝑋𝑃</m:t>
                          </m:r>
                        </m:e>
                        <m:sub>
                          <m:r>
                            <a:rPr lang="en-US" sz="24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sz="24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sz="2400" i="1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sz="2400" i="1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sz="2400" b="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b="0" i="1">
                              <a:latin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en-US" sz="2400" b="0" i="1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en-US" sz="2400" b="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sz="2400" i="1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2400" i="1">
                          <a:latin typeface="Cambria Math" panose="02040503050406030204" pitchFamily="18" charset="0"/>
                        </a:rPr>
                        <m:t>𝛽</m:t>
                      </m:r>
                      <m:r>
                        <m:rPr>
                          <m:sty m:val="p"/>
                        </m:rPr>
                        <a:rPr lang="en-US" sz="2400">
                          <a:latin typeface="Cambria Math" panose="02040503050406030204" pitchFamily="18" charset="0"/>
                        </a:rPr>
                        <m:t>Δ</m:t>
                      </m:r>
                      <m:r>
                        <a:rPr lang="en-US" sz="2400" i="1">
                          <a:latin typeface="Cambria Math" panose="02040503050406030204" pitchFamily="18" charset="0"/>
                        </a:rPr>
                        <m:t>𝑅𝐸𝑁</m:t>
                      </m:r>
                      <m:sSub>
                        <m:sSubPr>
                          <m:ctrlPr>
                            <a:rPr lang="en-US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i="1"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en-US" sz="24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sz="24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sz="2400" i="1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sz="2400" i="1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i="1">
                              <a:latin typeface="Cambria Math" panose="02040503050406030204" pitchFamily="18" charset="0"/>
                            </a:rPr>
                            <m:t>𝛾</m:t>
                          </m:r>
                          <m:r>
                            <a:rPr lang="en-US" sz="2400" i="1"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24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sz="24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sz="2400" i="1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sz="2400" i="1">
                          <a:latin typeface="Cambria Math" panose="02040503050406030204" pitchFamily="18" charset="0"/>
                        </a:rPr>
                        <m:t>+ </m:t>
                      </m:r>
                      <m:sSub>
                        <m:sSubPr>
                          <m:ctrlPr>
                            <a:rPr lang="en-US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i="1">
                              <a:latin typeface="Cambria Math" panose="02040503050406030204" pitchFamily="18" charset="0"/>
                            </a:rPr>
                            <m:t>𝜆</m:t>
                          </m:r>
                          <m:r>
                            <m:rPr>
                              <m:sty m:val="p"/>
                            </m:rPr>
                            <a:rPr lang="en-US" sz="2400">
                              <a:latin typeface="Cambria Math" panose="02040503050406030204" pitchFamily="18" charset="0"/>
                            </a:rPr>
                            <m:t>Δ</m:t>
                          </m:r>
                          <m:r>
                            <a:rPr lang="en-US" sz="2400" i="1">
                              <a:latin typeface="Cambria Math" panose="02040503050406030204" pitchFamily="18" charset="0"/>
                            </a:rPr>
                            <m:t>𝑅𝐸𝑁</m:t>
                          </m:r>
                          <m:sSub>
                            <m:sSubPr>
                              <m:ctrlPr>
                                <a:rPr lang="en-US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i="1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e>
                            <m:sub>
                              <m:r>
                                <a:rPr lang="en-US" sz="24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en-US" sz="24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en-US" sz="24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  <m:r>
                            <a:rPr lang="en-US" sz="2400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2400" i="1"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24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sz="24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sz="2400" i="1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sz="2400" i="1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2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i="1">
                              <a:latin typeface="Cambria Math" panose="02040503050406030204" pitchFamily="18" charset="0"/>
                            </a:rPr>
                            <m:t>𝜀</m:t>
                          </m:r>
                        </m:e>
                        <m:sub>
                          <m:r>
                            <a:rPr lang="en-US" sz="24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sz="24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sz="2400" i="1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</m:oMath>
                  </m:oMathPara>
                </a14:m>
                <a:endParaRPr lang="en-US" sz="2400" dirty="0">
                  <a:latin typeface="Cambria" panose="02040503050406030204" pitchFamily="18" charset="0"/>
                  <a:ea typeface="Cambria" panose="02040503050406030204" pitchFamily="18" charset="0"/>
                </a:endParaRPr>
              </a:p>
            </p:txBody>
          </p:sp>
        </mc:Choice>
        <mc:Fallback xmlns="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678D14A6-F1E2-ADF9-D6A2-83E1D9921C8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9646" y="1748431"/>
                <a:ext cx="8056280" cy="477888"/>
              </a:xfrm>
              <a:prstGeom prst="rect">
                <a:avLst/>
              </a:prstGeom>
              <a:blipFill>
                <a:blip r:embed="rId3"/>
                <a:stretch>
                  <a:fillRect b="-13750"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70D0921D-77DE-8301-E229-4AE59700223E}"/>
                  </a:ext>
                </a:extLst>
              </p:cNvPr>
              <p:cNvSpPr txBox="1"/>
              <p:nvPr/>
            </p:nvSpPr>
            <p:spPr>
              <a:xfrm>
                <a:off x="769646" y="2421809"/>
                <a:ext cx="10367010" cy="707886"/>
              </a:xfrm>
              <a:prstGeom prst="rect">
                <a:avLst/>
              </a:prstGeom>
              <a:ln/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wrap="square">
                <a:spAutoFit/>
              </a:bodyPr>
              <a:lstStyle/>
              <a:p>
                <a:pPr lvl="0"/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2000" smtClean="0">
                        <a:latin typeface="Cambria Math" panose="02040503050406030204" pitchFamily="18" charset="0"/>
                      </a:rPr>
                      <m:t>Δ</m:t>
                    </m:r>
                    <m:r>
                      <a:rPr lang="en-US" sz="2000" b="0" i="1">
                        <a:latin typeface="Cambria Math" panose="02040503050406030204" pitchFamily="18" charset="0"/>
                      </a:rPr>
                      <m:t>𝐸𝑋𝑃</m:t>
                    </m:r>
                  </m:oMath>
                </a14:m>
                <a:r>
                  <a:rPr lang="en-US" sz="2000" dirty="0">
                    <a:latin typeface="Cambria" panose="02040503050406030204" pitchFamily="18" charset="0"/>
                    <a:ea typeface="Cambria" panose="02040503050406030204" pitchFamily="18" charset="0"/>
                  </a:rPr>
                  <a:t> is the variation of the </a:t>
                </a:r>
                <a:r>
                  <a:rPr lang="en-US" sz="2000" b="1" dirty="0">
                    <a:latin typeface="Cambria" panose="02040503050406030204" pitchFamily="18" charset="0"/>
                    <a:ea typeface="Cambria" panose="02040503050406030204" pitchFamily="18" charset="0"/>
                  </a:rPr>
                  <a:t>cyclical component of total expenditure</a:t>
                </a:r>
                <a:r>
                  <a:rPr lang="en-US" sz="2000" dirty="0">
                    <a:latin typeface="Cambria" panose="02040503050406030204" pitchFamily="18" charset="0"/>
                    <a:ea typeface="Cambria" panose="02040503050406030204" pitchFamily="18" charset="0"/>
                  </a:rPr>
                  <a:t>, investment expenditure or current consumption expenditure</a:t>
                </a:r>
              </a:p>
            </p:txBody>
          </p:sp>
        </mc:Choice>
        <mc:Fallback xmlns="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70D0921D-77DE-8301-E229-4AE59700223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9646" y="2421809"/>
                <a:ext cx="10367010" cy="707886"/>
              </a:xfrm>
              <a:prstGeom prst="rect">
                <a:avLst/>
              </a:prstGeom>
              <a:blipFill>
                <a:blip r:embed="rId4"/>
                <a:stretch>
                  <a:fillRect l="-528" t="-3390" b="-13559"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6B674BB4-0523-C0E6-C78A-047C7AEE3181}"/>
                  </a:ext>
                </a:extLst>
              </p:cNvPr>
              <p:cNvSpPr txBox="1"/>
              <p:nvPr/>
            </p:nvSpPr>
            <p:spPr>
              <a:xfrm>
                <a:off x="769646" y="3431101"/>
                <a:ext cx="10367010" cy="400110"/>
              </a:xfrm>
              <a:prstGeom prst="rect">
                <a:avLst/>
              </a:prstGeom>
              <a:ln/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wrap="square">
                <a:spAutoFit/>
              </a:bodyPr>
              <a:lstStyle/>
              <a:p>
                <a:pPr lvl="0"/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2000" smtClean="0">
                        <a:latin typeface="Cambria Math" panose="02040503050406030204" pitchFamily="18" charset="0"/>
                      </a:rPr>
                      <m:t>Δ</m:t>
                    </m:r>
                    <m:r>
                      <a:rPr lang="en-US" sz="2000" i="1">
                        <a:latin typeface="Cambria Math" panose="02040503050406030204" pitchFamily="18" charset="0"/>
                      </a:rPr>
                      <m:t>𝑅𝐸𝑁𝑇</m:t>
                    </m:r>
                  </m:oMath>
                </a14:m>
                <a:r>
                  <a:rPr lang="en-US" sz="2000" dirty="0">
                    <a:latin typeface="Cambria" panose="02040503050406030204" pitchFamily="18" charset="0"/>
                    <a:ea typeface="Cambria" panose="02040503050406030204" pitchFamily="18" charset="0"/>
                  </a:rPr>
                  <a:t> is the variation of the </a:t>
                </a:r>
                <a:r>
                  <a:rPr lang="en-US" sz="2000" b="1" dirty="0">
                    <a:latin typeface="Cambria" panose="02040503050406030204" pitchFamily="18" charset="0"/>
                    <a:ea typeface="Cambria" panose="02040503050406030204" pitchFamily="18" charset="0"/>
                  </a:rPr>
                  <a:t>cyclical component of the oil and gas rent</a:t>
                </a:r>
                <a:r>
                  <a:rPr lang="en-US" sz="2000" dirty="0">
                    <a:latin typeface="Cambria" panose="02040503050406030204" pitchFamily="18" charset="0"/>
                    <a:ea typeface="Cambria" panose="02040503050406030204" pitchFamily="18" charset="0"/>
                  </a:rPr>
                  <a:t> </a:t>
                </a:r>
              </a:p>
            </p:txBody>
          </p:sp>
        </mc:Choice>
        <mc:Fallback xmlns="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6B674BB4-0523-C0E6-C78A-047C7AEE318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9646" y="3431101"/>
                <a:ext cx="10367010" cy="400110"/>
              </a:xfrm>
              <a:prstGeom prst="rect">
                <a:avLst/>
              </a:prstGeom>
              <a:blipFill>
                <a:blip r:embed="rId5"/>
                <a:stretch>
                  <a:fillRect t="-7463" b="-25373"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5F911BD9-A994-6068-C311-45992A59A500}"/>
                  </a:ext>
                </a:extLst>
              </p:cNvPr>
              <p:cNvSpPr txBox="1"/>
              <p:nvPr/>
            </p:nvSpPr>
            <p:spPr>
              <a:xfrm>
                <a:off x="769646" y="4132404"/>
                <a:ext cx="10367010" cy="400110"/>
              </a:xfrm>
              <a:prstGeom prst="rect">
                <a:avLst/>
              </a:prstGeom>
              <a:ln/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wrap="square">
                <a:spAutoFit/>
              </a:bodyPr>
              <a:lstStyle/>
              <a:p>
                <a:pPr lvl="0"/>
                <a:r>
                  <a:rPr lang="en-US" sz="2000" dirty="0">
                    <a:latin typeface="Cambria" panose="02040503050406030204" pitchFamily="18" charset="0"/>
                    <a:ea typeface="Cambria" panose="02040503050406030204" pitchFamily="18" charset="0"/>
                  </a:rPr>
                  <a:t>Positive (negative) </a:t>
                </a:r>
                <a14:m>
                  <m:oMath xmlns:m="http://schemas.openxmlformats.org/officeDocument/2006/math">
                    <m:r>
                      <a:rPr lang="en-US" sz="2000" i="1">
                        <a:latin typeface="Cambria Math" panose="02040503050406030204" pitchFamily="18" charset="0"/>
                      </a:rPr>
                      <m:t>𝛽</m:t>
                    </m:r>
                  </m:oMath>
                </a14:m>
                <a:r>
                  <a:rPr lang="en-US" sz="2000" dirty="0">
                    <a:latin typeface="Cambria" panose="02040503050406030204" pitchFamily="18" charset="0"/>
                    <a:ea typeface="Cambria" panose="02040503050406030204" pitchFamily="18" charset="0"/>
                  </a:rPr>
                  <a:t> denotes </a:t>
                </a:r>
                <a:r>
                  <a:rPr lang="en-US" sz="2000" b="1" dirty="0">
                    <a:latin typeface="Cambria" panose="02040503050406030204" pitchFamily="18" charset="0"/>
                    <a:ea typeface="Cambria" panose="02040503050406030204" pitchFamily="18" charset="0"/>
                  </a:rPr>
                  <a:t>procyclicality</a:t>
                </a:r>
                <a:r>
                  <a:rPr lang="en-US" sz="2000" dirty="0">
                    <a:latin typeface="Cambria" panose="02040503050406030204" pitchFamily="18" charset="0"/>
                    <a:ea typeface="Cambria" panose="02040503050406030204" pitchFamily="18" charset="0"/>
                  </a:rPr>
                  <a:t> (</a:t>
                </a:r>
                <a:r>
                  <a:rPr lang="en-US" sz="2000" b="1" dirty="0">
                    <a:latin typeface="Cambria" panose="02040503050406030204" pitchFamily="18" charset="0"/>
                    <a:ea typeface="Cambria" panose="02040503050406030204" pitchFamily="18" charset="0"/>
                  </a:rPr>
                  <a:t>countercyclicality</a:t>
                </a:r>
                <a:r>
                  <a:rPr lang="en-US" sz="2000" dirty="0">
                    <a:latin typeface="Cambria" panose="02040503050406030204" pitchFamily="18" charset="0"/>
                    <a:ea typeface="Cambria" panose="02040503050406030204" pitchFamily="18" charset="0"/>
                  </a:rPr>
                  <a:t>) </a:t>
                </a:r>
              </a:p>
            </p:txBody>
          </p:sp>
        </mc:Choice>
        <mc:Fallback xmlns=""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5F911BD9-A994-6068-C311-45992A59A50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9646" y="4132404"/>
                <a:ext cx="10367010" cy="400110"/>
              </a:xfrm>
              <a:prstGeom prst="rect">
                <a:avLst/>
              </a:prstGeom>
              <a:blipFill>
                <a:blip r:embed="rId6"/>
                <a:stretch>
                  <a:fillRect l="-528" t="-7353" b="-23529"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451A5191-4DB5-85CC-0E33-1827093F3E29}"/>
                  </a:ext>
                </a:extLst>
              </p:cNvPr>
              <p:cNvSpPr txBox="1"/>
              <p:nvPr/>
            </p:nvSpPr>
            <p:spPr>
              <a:xfrm>
                <a:off x="769646" y="4847397"/>
                <a:ext cx="10367010" cy="400110"/>
              </a:xfrm>
              <a:prstGeom prst="rect">
                <a:avLst/>
              </a:prstGeom>
              <a:ln/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wrap="square">
                <a:spAutoFit/>
              </a:bodyPr>
              <a:lstStyle/>
              <a:p>
                <a:pPr lvl="0"/>
                <a14:m>
                  <m:oMath xmlns:m="http://schemas.openxmlformats.org/officeDocument/2006/math">
                    <m:r>
                      <a:rPr lang="en-US" sz="2000" b="0" i="1" smtClean="0">
                        <a:latin typeface="Cambria Math" panose="02040503050406030204" pitchFamily="18" charset="0"/>
                      </a:rPr>
                      <m:t>𝑋</m:t>
                    </m:r>
                  </m:oMath>
                </a14:m>
                <a:r>
                  <a:rPr lang="en-US" sz="2000" dirty="0">
                    <a:latin typeface="Cambria" panose="02040503050406030204" pitchFamily="18" charset="0"/>
                    <a:ea typeface="Cambria" panose="02040503050406030204" pitchFamily="18" charset="0"/>
                  </a:rPr>
                  <a:t> is vector of variables that we </a:t>
                </a:r>
                <a:r>
                  <a:rPr lang="en-US" sz="2000" b="1" dirty="0">
                    <a:latin typeface="Cambria" panose="02040503050406030204" pitchFamily="18" charset="0"/>
                    <a:ea typeface="Cambria" panose="02040503050406030204" pitchFamily="18" charset="0"/>
                  </a:rPr>
                  <a:t>interact</a:t>
                </a:r>
                <a:r>
                  <a:rPr lang="en-US" sz="2000" dirty="0">
                    <a:latin typeface="Cambria" panose="02040503050406030204" pitchFamily="18" charset="0"/>
                    <a:ea typeface="Cambria" panose="02040503050406030204" pitchFamily="18" charset="0"/>
                  </a:rPr>
                  <a:t> with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2000">
                        <a:latin typeface="Cambria Math" panose="02040503050406030204" pitchFamily="18" charset="0"/>
                      </a:rPr>
                      <m:t>Δ</m:t>
                    </m:r>
                    <m:r>
                      <a:rPr lang="en-US" sz="2000" i="1">
                        <a:latin typeface="Cambria Math" panose="02040503050406030204" pitchFamily="18" charset="0"/>
                      </a:rPr>
                      <m:t>𝑅𝐸𝑁𝑇</m:t>
                    </m:r>
                  </m:oMath>
                </a14:m>
                <a:endParaRPr lang="en-US" sz="2000" dirty="0">
                  <a:latin typeface="Cambria" panose="02040503050406030204" pitchFamily="18" charset="0"/>
                  <a:ea typeface="Cambria" panose="02040503050406030204" pitchFamily="18" charset="0"/>
                </a:endParaRPr>
              </a:p>
            </p:txBody>
          </p:sp>
        </mc:Choice>
        <mc:Fallback xmlns=""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451A5191-4DB5-85CC-0E33-1827093F3E2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9646" y="4847397"/>
                <a:ext cx="10367010" cy="400110"/>
              </a:xfrm>
              <a:prstGeom prst="rect">
                <a:avLst/>
              </a:prstGeom>
              <a:blipFill>
                <a:blip r:embed="rId7"/>
                <a:stretch>
                  <a:fillRect t="-5882" b="-23529"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BE7AC54D-CEA0-F284-7916-6FDA5EF40138}"/>
                  </a:ext>
                </a:extLst>
              </p:cNvPr>
              <p:cNvSpPr txBox="1"/>
              <p:nvPr/>
            </p:nvSpPr>
            <p:spPr>
              <a:xfrm>
                <a:off x="769646" y="5516141"/>
                <a:ext cx="10367010" cy="400110"/>
              </a:xfrm>
              <a:prstGeom prst="rect">
                <a:avLst/>
              </a:prstGeom>
              <a:ln/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wrap="square">
                <a:spAutoFit/>
              </a:bodyPr>
              <a:lstStyle/>
              <a:p>
                <a:pPr lvl="0"/>
                <a:r>
                  <a:rPr lang="en-US" sz="2000" dirty="0">
                    <a:latin typeface="Cambria" panose="02040503050406030204" pitchFamily="18" charset="0"/>
                    <a:ea typeface="Cambria" panose="02040503050406030204" pitchFamily="18" charset="0"/>
                  </a:rPr>
                  <a:t>Positive (negative) coefficient </a:t>
                </a:r>
                <a14:m>
                  <m:oMath xmlns:m="http://schemas.openxmlformats.org/officeDocument/2006/math">
                    <m:r>
                      <a:rPr lang="en-US" sz="2000" i="1">
                        <a:latin typeface="Cambria Math" panose="02040503050406030204" pitchFamily="18" charset="0"/>
                      </a:rPr>
                      <m:t>𝜆</m:t>
                    </m:r>
                    <m:r>
                      <a:rPr lang="en-US" sz="2000" i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sz="2000" dirty="0">
                    <a:latin typeface="Cambria" panose="02040503050406030204" pitchFamily="18" charset="0"/>
                    <a:ea typeface="Cambria" panose="02040503050406030204" pitchFamily="18" charset="0"/>
                  </a:rPr>
                  <a:t>means that variable </a:t>
                </a:r>
                <a14:m>
                  <m:oMath xmlns:m="http://schemas.openxmlformats.org/officeDocument/2006/math">
                    <m:r>
                      <a:rPr lang="en-US" sz="2000" b="0" i="1">
                        <a:latin typeface="Cambria Math" panose="02040503050406030204" pitchFamily="18" charset="0"/>
                      </a:rPr>
                      <m:t>𝑋</m:t>
                    </m:r>
                  </m:oMath>
                </a14:m>
                <a:r>
                  <a:rPr lang="en-US" sz="2000" dirty="0">
                    <a:latin typeface="Cambria" panose="02040503050406030204" pitchFamily="18" charset="0"/>
                    <a:ea typeface="Cambria" panose="02040503050406030204" pitchFamily="18" charset="0"/>
                  </a:rPr>
                  <a:t> </a:t>
                </a:r>
                <a:r>
                  <a:rPr lang="en-US" sz="2000" b="1" dirty="0">
                    <a:latin typeface="Cambria" panose="02040503050406030204" pitchFamily="18" charset="0"/>
                    <a:ea typeface="Cambria" panose="02040503050406030204" pitchFamily="18" charset="0"/>
                  </a:rPr>
                  <a:t>amplifies (reduces) procyclicality</a:t>
                </a:r>
                <a:endParaRPr lang="en-US" sz="2000" dirty="0">
                  <a:latin typeface="Cambria" panose="02040503050406030204" pitchFamily="18" charset="0"/>
                  <a:ea typeface="Cambria" panose="02040503050406030204" pitchFamily="18" charset="0"/>
                </a:endParaRPr>
              </a:p>
            </p:txBody>
          </p:sp>
        </mc:Choice>
        <mc:Fallback xmlns=""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BE7AC54D-CEA0-F284-7916-6FDA5EF4013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9646" y="5516141"/>
                <a:ext cx="10367010" cy="400110"/>
              </a:xfrm>
              <a:prstGeom prst="rect">
                <a:avLst/>
              </a:prstGeom>
              <a:blipFill>
                <a:blip r:embed="rId8"/>
                <a:stretch>
                  <a:fillRect l="-528" t="-7353" b="-23529"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9680960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13" grpId="0" animBg="1"/>
      <p:bldP spid="15" grpId="0" animBg="1"/>
      <p:bldP spid="17" grpId="0" animBg="1"/>
      <p:bldP spid="19" grpId="0" animBg="1"/>
      <p:bldP spid="21" grpId="0" animBg="1"/>
      <p:bldP spid="23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5B14B9AB-9471-D21D-D898-D104E4A34082}"/>
              </a:ext>
            </a:extLst>
          </p:cNvPr>
          <p:cNvSpPr/>
          <p:nvPr/>
        </p:nvSpPr>
        <p:spPr>
          <a:xfrm>
            <a:off x="1143000" y="1920243"/>
            <a:ext cx="11521440" cy="2578589"/>
          </a:xfrm>
          <a:prstGeom prst="rect">
            <a:avLst/>
          </a:prstGeom>
          <a:solidFill>
            <a:schemeClr val="tx2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5" name="object 2">
            <a:extLst>
              <a:ext uri="{FF2B5EF4-FFF2-40B4-BE49-F238E27FC236}">
                <a16:creationId xmlns:a16="http://schemas.microsoft.com/office/drawing/2014/main" id="{316B8079-4A76-825B-BA7C-2BAA5881359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23342" y="223718"/>
            <a:ext cx="7943141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2800" spc="20" dirty="0">
                <a:solidFill>
                  <a:schemeClr val="accent1"/>
                </a:solidFill>
              </a:rPr>
              <a:t>Insights from the model without asymmetri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51FD9DA-198E-9CB2-345D-951617A3D39E}"/>
              </a:ext>
            </a:extLst>
          </p:cNvPr>
          <p:cNvCxnSpPr/>
          <p:nvPr/>
        </p:nvCxnSpPr>
        <p:spPr>
          <a:xfrm>
            <a:off x="526473" y="804589"/>
            <a:ext cx="3472872" cy="0"/>
          </a:xfrm>
          <a:prstGeom prst="line">
            <a:avLst/>
          </a:prstGeom>
          <a:ln w="19050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37B1A2E5-212D-C727-7EB9-414EBD728057}"/>
              </a:ext>
            </a:extLst>
          </p:cNvPr>
          <p:cNvSpPr txBox="1"/>
          <p:nvPr/>
        </p:nvSpPr>
        <p:spPr>
          <a:xfrm>
            <a:off x="11813997" y="6532801"/>
            <a:ext cx="288585" cy="26668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fld id="{EFF4D7D2-636D-40D9-93B6-0CBAC255A5A5}" type="slidenum">
              <a:rPr lang="en-US" sz="1200" smtClean="0"/>
              <a:t>4</a:t>
            </a:fld>
            <a:endParaRPr lang="en-US" sz="12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AAD778C-0A27-18EF-C4F0-C57A604EC949}"/>
              </a:ext>
            </a:extLst>
          </p:cNvPr>
          <p:cNvSpPr txBox="1"/>
          <p:nvPr/>
        </p:nvSpPr>
        <p:spPr>
          <a:xfrm>
            <a:off x="825627" y="2329199"/>
            <a:ext cx="10229850" cy="400110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2000" dirty="0">
                <a:latin typeface="Cambria" panose="02040503050406030204" pitchFamily="18" charset="0"/>
                <a:ea typeface="Cambria" panose="02040503050406030204" pitchFamily="18" charset="0"/>
              </a:rPr>
              <a:t>Procyclicality: The pass-through of oil and gas rents to government expenditure is close to 1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2161322-3D20-3802-5B85-D63F2C097DAA}"/>
              </a:ext>
            </a:extLst>
          </p:cNvPr>
          <p:cNvSpPr txBox="1"/>
          <p:nvPr/>
        </p:nvSpPr>
        <p:spPr>
          <a:xfrm>
            <a:off x="825627" y="2976411"/>
            <a:ext cx="10229850" cy="400110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2000" dirty="0">
                <a:latin typeface="Cambria" panose="02040503050406030204" pitchFamily="18" charset="0"/>
                <a:ea typeface="Cambria" panose="02040503050406030204" pitchFamily="18" charset="0"/>
              </a:rPr>
              <a:t>Financial openness increases procyclicality, in line with the financial constraint hypothesi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270A24D-3E40-3D99-FD4B-2C42BB3E291D}"/>
              </a:ext>
            </a:extLst>
          </p:cNvPr>
          <p:cNvSpPr txBox="1"/>
          <p:nvPr/>
        </p:nvSpPr>
        <p:spPr>
          <a:xfrm>
            <a:off x="825627" y="3623623"/>
            <a:ext cx="10229850" cy="400110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2000" dirty="0">
                <a:latin typeface="Cambria" panose="02040503050406030204" pitchFamily="18" charset="0"/>
                <a:ea typeface="Cambria" panose="02040503050406030204" pitchFamily="18" charset="0"/>
              </a:rPr>
              <a:t>Institutional quality and fiscal rules reduce procyclicality</a:t>
            </a:r>
          </a:p>
        </p:txBody>
      </p:sp>
    </p:spTree>
    <p:extLst>
      <p:ext uri="{BB962C8B-B14F-4D97-AF65-F5344CB8AC3E}">
        <p14:creationId xmlns:p14="http://schemas.microsoft.com/office/powerpoint/2010/main" val="23672335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0" grpId="0" animBg="1"/>
      <p:bldP spid="12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316B8079-4A76-825B-BA7C-2BAA5881359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23342" y="223718"/>
            <a:ext cx="11281111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2800" spc="20" dirty="0">
                <a:solidFill>
                  <a:schemeClr val="accent1"/>
                </a:solidFill>
              </a:rPr>
              <a:t>We consider four configurations of oil and gas revenue shock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51FD9DA-198E-9CB2-345D-951617A3D39E}"/>
              </a:ext>
            </a:extLst>
          </p:cNvPr>
          <p:cNvCxnSpPr/>
          <p:nvPr/>
        </p:nvCxnSpPr>
        <p:spPr>
          <a:xfrm>
            <a:off x="526473" y="804589"/>
            <a:ext cx="3472872" cy="0"/>
          </a:xfrm>
          <a:prstGeom prst="line">
            <a:avLst/>
          </a:prstGeom>
          <a:ln w="19050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840BBDEE-1893-A629-44A4-46D54378438D}"/>
              </a:ext>
            </a:extLst>
          </p:cNvPr>
          <p:cNvSpPr txBox="1"/>
          <p:nvPr/>
        </p:nvSpPr>
        <p:spPr>
          <a:xfrm>
            <a:off x="11813997" y="6532801"/>
            <a:ext cx="288585" cy="26668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fld id="{EFF4D7D2-636D-40D9-93B6-0CBAC255A5A5}" type="slidenum">
              <a:rPr lang="en-US" sz="1200" smtClean="0"/>
              <a:t>5</a:t>
            </a:fld>
            <a:endParaRPr lang="en-US" sz="1200" dirty="0"/>
          </a:p>
        </p:txBody>
      </p:sp>
      <p:sp>
        <p:nvSpPr>
          <p:cNvPr id="4" name="Arrow: Up-Down 3">
            <a:extLst>
              <a:ext uri="{FF2B5EF4-FFF2-40B4-BE49-F238E27FC236}">
                <a16:creationId xmlns:a16="http://schemas.microsoft.com/office/drawing/2014/main" id="{B5720700-B965-D7FC-BCAC-73ABE81C95C7}"/>
              </a:ext>
            </a:extLst>
          </p:cNvPr>
          <p:cNvSpPr/>
          <p:nvPr/>
        </p:nvSpPr>
        <p:spPr>
          <a:xfrm>
            <a:off x="5631437" y="1312020"/>
            <a:ext cx="929117" cy="4988208"/>
          </a:xfrm>
          <a:prstGeom prst="upDownArrow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b="1" dirty="0">
                <a:solidFill>
                  <a:schemeClr val="bg1"/>
                </a:solidFill>
              </a:rPr>
              <a:t>Low                                                                  High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F5B1274-C5A6-37C6-66FD-DE1C23E2AF93}"/>
              </a:ext>
            </a:extLst>
          </p:cNvPr>
          <p:cNvSpPr txBox="1"/>
          <p:nvPr/>
        </p:nvSpPr>
        <p:spPr>
          <a:xfrm>
            <a:off x="3163579" y="907243"/>
            <a:ext cx="5864842" cy="300134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/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/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>
              <a:buClr>
                <a:schemeClr val="accent2"/>
              </a:buClr>
            </a:pPr>
            <a:r>
              <a:rPr lang="en-US" sz="2000" b="1" dirty="0">
                <a:latin typeface="Cambria" panose="02040503050406030204" pitchFamily="18" charset="0"/>
                <a:cs typeface="Arial" panose="020B0604020202020204" pitchFamily="34" charset="0"/>
              </a:rPr>
              <a:t>Position</a:t>
            </a:r>
            <a:r>
              <a:rPr lang="en-US" sz="1800" dirty="0">
                <a:latin typeface="Cambria" panose="02040503050406030204" pitchFamily="18" charset="0"/>
                <a:cs typeface="Arial" panose="020B0604020202020204" pitchFamily="34" charset="0"/>
              </a:rPr>
              <a:t> of oil and gas revenue (</a:t>
            </a:r>
            <a:r>
              <a:rPr lang="en-US" sz="1800" dirty="0" err="1">
                <a:latin typeface="Cambria" panose="02040503050406030204" pitchFamily="18" charset="0"/>
                <a:cs typeface="Arial" panose="020B0604020202020204" pitchFamily="34" charset="0"/>
              </a:rPr>
              <a:t>w.r.t.</a:t>
            </a:r>
            <a:r>
              <a:rPr lang="en-US" sz="1800" dirty="0">
                <a:latin typeface="Cambria" panose="02040503050406030204" pitchFamily="18" charset="0"/>
                <a:cs typeface="Arial" panose="020B0604020202020204" pitchFamily="34" charset="0"/>
              </a:rPr>
              <a:t> baseline revenue)</a:t>
            </a:r>
            <a:endParaRPr lang="en-US" sz="18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6BB7F5-BF0E-595D-32C3-4E34CFD7C380}"/>
              </a:ext>
            </a:extLst>
          </p:cNvPr>
          <p:cNvSpPr txBox="1"/>
          <p:nvPr/>
        </p:nvSpPr>
        <p:spPr>
          <a:xfrm>
            <a:off x="9376990" y="3503371"/>
            <a:ext cx="1989267" cy="605503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/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/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>
              <a:buClr>
                <a:schemeClr val="accent2"/>
              </a:buClr>
            </a:pPr>
            <a:r>
              <a:rPr lang="en-US" sz="2000" b="1" dirty="0">
                <a:latin typeface="Cambria" panose="02040503050406030204" pitchFamily="18" charset="0"/>
                <a:cs typeface="Arial" panose="020B0604020202020204" pitchFamily="34" charset="0"/>
              </a:rPr>
              <a:t>Variation</a:t>
            </a:r>
            <a:r>
              <a:rPr lang="en-US" sz="1800" dirty="0">
                <a:latin typeface="Cambria" panose="02040503050406030204" pitchFamily="18" charset="0"/>
                <a:cs typeface="Arial" panose="020B0604020202020204" pitchFamily="34" charset="0"/>
              </a:rPr>
              <a:t> of oil and gas revenue</a:t>
            </a:r>
            <a:endParaRPr lang="en-US" sz="1800" dirty="0"/>
          </a:p>
        </p:txBody>
      </p:sp>
      <p:sp>
        <p:nvSpPr>
          <p:cNvPr id="11" name="Arrow: Up-Down 10">
            <a:extLst>
              <a:ext uri="{FF2B5EF4-FFF2-40B4-BE49-F238E27FC236}">
                <a16:creationId xmlns:a16="http://schemas.microsoft.com/office/drawing/2014/main" id="{E6F2BFF4-71B3-36EC-4D75-D525BD76AECD}"/>
              </a:ext>
            </a:extLst>
          </p:cNvPr>
          <p:cNvSpPr/>
          <p:nvPr/>
        </p:nvSpPr>
        <p:spPr>
          <a:xfrm rot="5400000">
            <a:off x="5631441" y="707147"/>
            <a:ext cx="929117" cy="6197953"/>
          </a:xfrm>
          <a:prstGeom prst="upDownArrow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b="1" dirty="0">
                <a:solidFill>
                  <a:schemeClr val="bg1"/>
                </a:solidFill>
              </a:rPr>
              <a:t>Deterioration                                                         Improvemen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275300C8-F6F3-4DBD-CDA4-31F270632970}"/>
                  </a:ext>
                </a:extLst>
              </p:cNvPr>
              <p:cNvSpPr txBox="1"/>
              <p:nvPr/>
            </p:nvSpPr>
            <p:spPr>
              <a:xfrm>
                <a:off x="7140201" y="2327642"/>
                <a:ext cx="1127235" cy="369332"/>
              </a:xfrm>
              <a:prstGeom prst="rect">
                <a:avLst/>
              </a:prstGeom>
              <a:ln/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sz="1800" b="0" i="1" smtClean="0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pPr>
                        <m:e>
                          <m:r>
                            <m:rPr>
                              <m:sty m:val="p"/>
                            </m:rPr>
                            <a:rPr lang="en-US" sz="1800" smtClean="0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Δ</m:t>
                          </m:r>
                        </m:e>
                        <m:sup>
                          <m:r>
                            <a:rPr lang="en-US" sz="1800" b="0" i="0" smtClean="0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+</m:t>
                          </m:r>
                        </m:sup>
                      </m:sSup>
                      <m:r>
                        <a:rPr lang="en-US" sz="1800" i="1"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𝑅𝐸𝑁</m:t>
                      </m:r>
                      <m:sSub>
                        <m:sSubPr>
                          <m:ctrlPr>
                            <a:rPr lang="en-US" sz="1800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en-US" sz="1800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en-US" sz="1800" b="0" i="1" smtClean="0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𝐻</m:t>
                          </m:r>
                        </m:sub>
                      </m:sSub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275300C8-F6F3-4DBD-CDA4-31F27063297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40201" y="2327642"/>
                <a:ext cx="1127235" cy="36933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AE65EEF3-0E13-0EA9-0DC9-41C369619019}"/>
                  </a:ext>
                </a:extLst>
              </p:cNvPr>
              <p:cNvSpPr txBox="1"/>
              <p:nvPr/>
            </p:nvSpPr>
            <p:spPr>
              <a:xfrm>
                <a:off x="7140200" y="4918389"/>
                <a:ext cx="1127235" cy="369332"/>
              </a:xfrm>
              <a:prstGeom prst="rect">
                <a:avLst/>
              </a:prstGeom>
              <a:ln/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sz="1800" b="0" i="1" smtClean="0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pPr>
                        <m:e>
                          <m:r>
                            <m:rPr>
                              <m:sty m:val="p"/>
                            </m:rPr>
                            <a:rPr lang="en-US" sz="1800" smtClean="0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Δ</m:t>
                          </m:r>
                        </m:e>
                        <m:sup>
                          <m:r>
                            <a:rPr lang="en-US" sz="1800" b="0" i="0" smtClean="0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+</m:t>
                          </m:r>
                        </m:sup>
                      </m:sSup>
                      <m:r>
                        <a:rPr lang="en-US" sz="1800" i="1"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𝑅𝐸𝑁</m:t>
                      </m:r>
                      <m:sSub>
                        <m:sSubPr>
                          <m:ctrlPr>
                            <a:rPr lang="en-US" sz="1800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en-US" sz="1800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en-US" sz="1800" b="0" i="1" smtClean="0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𝐿</m:t>
                          </m:r>
                        </m:sub>
                      </m:sSub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AE65EEF3-0E13-0EA9-0DC9-41C36961901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40200" y="4918389"/>
                <a:ext cx="1127235" cy="3693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FF957A61-F017-A043-EFC0-FCBD30AC8FE1}"/>
                  </a:ext>
                </a:extLst>
              </p:cNvPr>
              <p:cNvSpPr txBox="1"/>
              <p:nvPr/>
            </p:nvSpPr>
            <p:spPr>
              <a:xfrm>
                <a:off x="3924555" y="4918389"/>
                <a:ext cx="1127235" cy="369332"/>
              </a:xfrm>
              <a:prstGeom prst="rect">
                <a:avLst/>
              </a:prstGeom>
              <a:ln/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sz="1800" b="0" i="1" smtClean="0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pPr>
                        <m:e>
                          <m:r>
                            <m:rPr>
                              <m:sty m:val="p"/>
                            </m:rPr>
                            <a:rPr lang="en-US" sz="1800" smtClean="0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Δ</m:t>
                          </m:r>
                        </m:e>
                        <m:sup>
                          <m:r>
                            <a:rPr lang="en-US" sz="1800" b="0" i="0" smtClean="0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−</m:t>
                          </m:r>
                        </m:sup>
                      </m:sSup>
                      <m:r>
                        <a:rPr lang="en-US" sz="1800" i="1"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𝑅𝐸𝑁</m:t>
                      </m:r>
                      <m:sSub>
                        <m:sSubPr>
                          <m:ctrlPr>
                            <a:rPr lang="en-US" sz="1800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en-US" sz="1800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en-US" sz="1800" b="0" i="1" smtClean="0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𝐿</m:t>
                          </m:r>
                        </m:sub>
                      </m:sSub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FF957A61-F017-A043-EFC0-FCBD30AC8FE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24555" y="4918389"/>
                <a:ext cx="1127235" cy="369332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B95B142F-9969-65B6-D7DE-531D1C3F0C75}"/>
                  </a:ext>
                </a:extLst>
              </p:cNvPr>
              <p:cNvSpPr txBox="1"/>
              <p:nvPr/>
            </p:nvSpPr>
            <p:spPr>
              <a:xfrm>
                <a:off x="3924554" y="2324526"/>
                <a:ext cx="1127235" cy="369332"/>
              </a:xfrm>
              <a:prstGeom prst="rect">
                <a:avLst/>
              </a:prstGeom>
              <a:ln/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sz="1800" b="0" i="1" smtClean="0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pPr>
                        <m:e>
                          <m:r>
                            <m:rPr>
                              <m:sty m:val="p"/>
                            </m:rPr>
                            <a:rPr lang="en-US" sz="1800" smtClean="0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Δ</m:t>
                          </m:r>
                        </m:e>
                        <m:sup>
                          <m:r>
                            <a:rPr lang="en-US" sz="1800" b="0" i="0" smtClean="0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−</m:t>
                          </m:r>
                        </m:sup>
                      </m:sSup>
                      <m:r>
                        <a:rPr lang="en-US" sz="1800" i="1"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𝑅𝐸𝑁</m:t>
                      </m:r>
                      <m:sSub>
                        <m:sSubPr>
                          <m:ctrlPr>
                            <a:rPr lang="en-US" sz="1800" i="1" smtClean="0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en-US" sz="1800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en-US" sz="1800" b="0" i="1" smtClean="0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𝐻</m:t>
                          </m:r>
                        </m:sub>
                      </m:sSub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B95B142F-9969-65B6-D7DE-531D1C3F0C7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24554" y="2324526"/>
                <a:ext cx="1127235" cy="36933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9" name="Picture 18">
            <a:extLst>
              <a:ext uri="{FF2B5EF4-FFF2-40B4-BE49-F238E27FC236}">
                <a16:creationId xmlns:a16="http://schemas.microsoft.com/office/drawing/2014/main" id="{011FA7D8-11E5-A44F-F50E-9F3D81B93EB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64181" y="1833442"/>
            <a:ext cx="479272" cy="479272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FCEC93B0-E79E-D122-2587-D3FE710AC96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48534" y="4423388"/>
            <a:ext cx="479273" cy="479273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A81FA612-4648-6980-5FCC-4E5C79C3CD0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248533" y="1829524"/>
            <a:ext cx="479274" cy="479274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34FCA0CC-B573-901C-DB86-493BE4EA217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464181" y="4423388"/>
            <a:ext cx="479274" cy="479274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BC31B087-B0EA-ACE6-46B0-2A5A0A0E734C}"/>
              </a:ext>
            </a:extLst>
          </p:cNvPr>
          <p:cNvSpPr/>
          <p:nvPr/>
        </p:nvSpPr>
        <p:spPr>
          <a:xfrm>
            <a:off x="6871441" y="2635319"/>
            <a:ext cx="1664751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2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Good time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9D15A07-4570-C3AB-9805-5AFC3CE4449A}"/>
              </a:ext>
            </a:extLst>
          </p:cNvPr>
          <p:cNvSpPr/>
          <p:nvPr/>
        </p:nvSpPr>
        <p:spPr>
          <a:xfrm>
            <a:off x="3676862" y="5230833"/>
            <a:ext cx="1664751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2400" b="1" dirty="0">
                <a:ln w="22225">
                  <a:solidFill>
                    <a:srgbClr val="FF0000"/>
                  </a:solidFill>
                  <a:prstDash val="solid"/>
                </a:ln>
                <a:solidFill>
                  <a:srgbClr val="FF66FF"/>
                </a:solidFill>
              </a:rPr>
              <a:t>Bad time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449E1E7-09BC-72B6-D9C9-A2394BFEDA79}"/>
              </a:ext>
            </a:extLst>
          </p:cNvPr>
          <p:cNvSpPr/>
          <p:nvPr/>
        </p:nvSpPr>
        <p:spPr>
          <a:xfrm>
            <a:off x="6871441" y="5227646"/>
            <a:ext cx="1664751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2400" b="1" dirty="0">
                <a:ln w="22225">
                  <a:solidFill>
                    <a:srgbClr val="FFC000"/>
                  </a:solidFill>
                  <a:prstDash val="solid"/>
                </a:ln>
                <a:solidFill>
                  <a:srgbClr val="FFFF00"/>
                </a:solidFill>
              </a:rPr>
              <a:t>Ugly time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47223A6-F55D-145E-112F-A91CE6D3F478}"/>
              </a:ext>
            </a:extLst>
          </p:cNvPr>
          <p:cNvSpPr/>
          <p:nvPr/>
        </p:nvSpPr>
        <p:spPr>
          <a:xfrm>
            <a:off x="3676861" y="2635318"/>
            <a:ext cx="1664751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2400" b="1" dirty="0">
                <a:ln w="22225">
                  <a:solidFill>
                    <a:srgbClr val="FFC000"/>
                  </a:solidFill>
                  <a:prstDash val="solid"/>
                </a:ln>
                <a:solidFill>
                  <a:srgbClr val="FFFF00"/>
                </a:solidFill>
              </a:rPr>
              <a:t>Ugly times</a:t>
            </a:r>
          </a:p>
        </p:txBody>
      </p:sp>
    </p:spTree>
    <p:extLst>
      <p:ext uri="{BB962C8B-B14F-4D97-AF65-F5344CB8AC3E}">
        <p14:creationId xmlns:p14="http://schemas.microsoft.com/office/powerpoint/2010/main" val="15616547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6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5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9" grpId="0" animBg="1"/>
      <p:bldP spid="10" grpId="0" animBg="1"/>
      <p:bldP spid="11" grpId="0" animBg="1"/>
      <p:bldP spid="13" grpId="0" animBg="1"/>
      <p:bldP spid="14" grpId="0" animBg="1"/>
      <p:bldP spid="15" grpId="0" animBg="1"/>
      <p:bldP spid="16" grpId="0" animBg="1"/>
      <p:bldP spid="25" grpId="0"/>
      <p:bldP spid="26" grpId="0"/>
      <p:bldP spid="27" grpId="0"/>
      <p:bldP spid="2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316B8079-4A76-825B-BA7C-2BAA5881359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23342" y="223718"/>
            <a:ext cx="11350122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2800" spc="20" dirty="0">
                <a:solidFill>
                  <a:schemeClr val="accent1"/>
                </a:solidFill>
              </a:rPr>
              <a:t>Asymmetries of variation and position: illustration with Saudi Arabia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51FD9DA-198E-9CB2-345D-951617A3D39E}"/>
              </a:ext>
            </a:extLst>
          </p:cNvPr>
          <p:cNvCxnSpPr/>
          <p:nvPr/>
        </p:nvCxnSpPr>
        <p:spPr>
          <a:xfrm>
            <a:off x="526473" y="804589"/>
            <a:ext cx="3472872" cy="0"/>
          </a:xfrm>
          <a:prstGeom prst="line">
            <a:avLst/>
          </a:prstGeom>
          <a:ln w="19050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Chart, line chart&#10;&#10;Description automatically generated">
            <a:extLst>
              <a:ext uri="{FF2B5EF4-FFF2-40B4-BE49-F238E27FC236}">
                <a16:creationId xmlns:a16="http://schemas.microsoft.com/office/drawing/2014/main" id="{3C5B8B9F-FE19-85D1-F8EF-EC4C0F13BE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3571" y="831833"/>
            <a:ext cx="10044857" cy="552252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36D41BA-1DED-537C-940B-43F316E80080}"/>
              </a:ext>
            </a:extLst>
          </p:cNvPr>
          <p:cNvSpPr txBox="1"/>
          <p:nvPr/>
        </p:nvSpPr>
        <p:spPr>
          <a:xfrm>
            <a:off x="11813997" y="6532801"/>
            <a:ext cx="288585" cy="26668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fld id="{EFF4D7D2-636D-40D9-93B6-0CBAC255A5A5}" type="slidenum">
              <a:rPr lang="en-US" sz="1200" smtClean="0"/>
              <a:t>6</a:t>
            </a:fld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41548644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316B8079-4A76-825B-BA7C-2BAA5881359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23342" y="223718"/>
            <a:ext cx="7943141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2800" spc="20" dirty="0">
                <a:solidFill>
                  <a:schemeClr val="accent1"/>
                </a:solidFill>
              </a:rPr>
              <a:t>Results with asymmetry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51FD9DA-198E-9CB2-345D-951617A3D39E}"/>
              </a:ext>
            </a:extLst>
          </p:cNvPr>
          <p:cNvCxnSpPr/>
          <p:nvPr/>
        </p:nvCxnSpPr>
        <p:spPr>
          <a:xfrm>
            <a:off x="526473" y="804589"/>
            <a:ext cx="3472872" cy="0"/>
          </a:xfrm>
          <a:prstGeom prst="line">
            <a:avLst/>
          </a:prstGeom>
          <a:ln w="19050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4" name="Table 3">
                <a:extLst>
                  <a:ext uri="{FF2B5EF4-FFF2-40B4-BE49-F238E27FC236}">
                    <a16:creationId xmlns:a16="http://schemas.microsoft.com/office/drawing/2014/main" id="{60E9C4ED-8EF8-5753-87C1-73BE63865A92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790000902"/>
                  </p:ext>
                </p:extLst>
              </p:nvPr>
            </p:nvGraphicFramePr>
            <p:xfrm>
              <a:off x="675104" y="863373"/>
              <a:ext cx="10783273" cy="5474366"/>
            </p:xfrm>
            <a:graphic>
              <a:graphicData uri="http://schemas.openxmlformats.org/drawingml/2006/table">
                <a:tbl>
                  <a:tblPr firstRow="1" firstCol="1" bandRow="1">
                    <a:tableStyleId>{5C22544A-7EE6-4342-B048-85BDC9FD1C3A}</a:tableStyleId>
                  </a:tblPr>
                  <a:tblGrid>
                    <a:gridCol w="1362291">
                      <a:extLst>
                        <a:ext uri="{9D8B030D-6E8A-4147-A177-3AD203B41FA5}">
                          <a16:colId xmlns:a16="http://schemas.microsoft.com/office/drawing/2014/main" val="1406452422"/>
                        </a:ext>
                      </a:extLst>
                    </a:gridCol>
                    <a:gridCol w="979838">
                      <a:extLst>
                        <a:ext uri="{9D8B030D-6E8A-4147-A177-3AD203B41FA5}">
                          <a16:colId xmlns:a16="http://schemas.microsoft.com/office/drawing/2014/main" val="3278755660"/>
                        </a:ext>
                      </a:extLst>
                    </a:gridCol>
                    <a:gridCol w="1107997">
                      <a:extLst>
                        <a:ext uri="{9D8B030D-6E8A-4147-A177-3AD203B41FA5}">
                          <a16:colId xmlns:a16="http://schemas.microsoft.com/office/drawing/2014/main" val="533336872"/>
                        </a:ext>
                      </a:extLst>
                    </a:gridCol>
                    <a:gridCol w="1000023">
                      <a:extLst>
                        <a:ext uri="{9D8B030D-6E8A-4147-A177-3AD203B41FA5}">
                          <a16:colId xmlns:a16="http://schemas.microsoft.com/office/drawing/2014/main" val="2169261049"/>
                        </a:ext>
                      </a:extLst>
                    </a:gridCol>
                    <a:gridCol w="979838">
                      <a:extLst>
                        <a:ext uri="{9D8B030D-6E8A-4147-A177-3AD203B41FA5}">
                          <a16:colId xmlns:a16="http://schemas.microsoft.com/office/drawing/2014/main" val="578420073"/>
                        </a:ext>
                      </a:extLst>
                    </a:gridCol>
                    <a:gridCol w="1184685">
                      <a:extLst>
                        <a:ext uri="{9D8B030D-6E8A-4147-A177-3AD203B41FA5}">
                          <a16:colId xmlns:a16="http://schemas.microsoft.com/office/drawing/2014/main" val="3001129583"/>
                        </a:ext>
                      </a:extLst>
                    </a:gridCol>
                    <a:gridCol w="1000023">
                      <a:extLst>
                        <a:ext uri="{9D8B030D-6E8A-4147-A177-3AD203B41FA5}">
                          <a16:colId xmlns:a16="http://schemas.microsoft.com/office/drawing/2014/main" val="2541661245"/>
                        </a:ext>
                      </a:extLst>
                    </a:gridCol>
                    <a:gridCol w="979838">
                      <a:extLst>
                        <a:ext uri="{9D8B030D-6E8A-4147-A177-3AD203B41FA5}">
                          <a16:colId xmlns:a16="http://schemas.microsoft.com/office/drawing/2014/main" val="918754706"/>
                        </a:ext>
                      </a:extLst>
                    </a:gridCol>
                    <a:gridCol w="1004055">
                      <a:extLst>
                        <a:ext uri="{9D8B030D-6E8A-4147-A177-3AD203B41FA5}">
                          <a16:colId xmlns:a16="http://schemas.microsoft.com/office/drawing/2014/main" val="2181972684"/>
                        </a:ext>
                      </a:extLst>
                    </a:gridCol>
                    <a:gridCol w="1184685">
                      <a:extLst>
                        <a:ext uri="{9D8B030D-6E8A-4147-A177-3AD203B41FA5}">
                          <a16:colId xmlns:a16="http://schemas.microsoft.com/office/drawing/2014/main" val="3028435800"/>
                        </a:ext>
                      </a:extLst>
                    </a:gridCol>
                  </a:tblGrid>
                  <a:tr h="223294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 dirty="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</a:t>
                          </a:r>
                          <a:r>
                            <a:rPr lang="ru-RU" sz="1400">
                              <a:effectLst/>
                            </a:rPr>
                            <a:t>1</a:t>
                          </a:r>
                          <a:r>
                            <a:rPr lang="en-US" sz="1400">
                              <a:effectLst/>
                            </a:rPr>
                            <a:t>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</a:t>
                          </a:r>
                          <a:r>
                            <a:rPr lang="ru-RU" sz="1400">
                              <a:effectLst/>
                            </a:rPr>
                            <a:t>2</a:t>
                          </a:r>
                          <a:r>
                            <a:rPr lang="en-US" sz="1400">
                              <a:effectLst/>
                            </a:rPr>
                            <a:t>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</a:t>
                          </a:r>
                          <a:r>
                            <a:rPr lang="ru-RU" sz="1400">
                              <a:effectLst/>
                            </a:rPr>
                            <a:t>3</a:t>
                          </a:r>
                          <a:r>
                            <a:rPr lang="en-US" sz="1400">
                              <a:effectLst/>
                            </a:rPr>
                            <a:t>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</a:t>
                          </a:r>
                          <a:r>
                            <a:rPr lang="ru-RU" sz="1400">
                              <a:effectLst/>
                            </a:rPr>
                            <a:t>4</a:t>
                          </a:r>
                          <a:r>
                            <a:rPr lang="en-US" sz="1400">
                              <a:effectLst/>
                            </a:rPr>
                            <a:t>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</a:t>
                          </a:r>
                          <a:r>
                            <a:rPr lang="ru-RU" sz="1400">
                              <a:effectLst/>
                            </a:rPr>
                            <a:t>5</a:t>
                          </a:r>
                          <a:r>
                            <a:rPr lang="en-US" sz="1400">
                              <a:effectLst/>
                            </a:rPr>
                            <a:t>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</a:t>
                          </a:r>
                          <a:r>
                            <a:rPr lang="ru-RU" sz="1400">
                              <a:effectLst/>
                            </a:rPr>
                            <a:t>6</a:t>
                          </a:r>
                          <a:r>
                            <a:rPr lang="en-US" sz="1400">
                              <a:effectLst/>
                            </a:rPr>
                            <a:t>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7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8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(9)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extLst>
                      <a:ext uri="{0D108BD9-81ED-4DB2-BD59-A6C34878D82A}">
                        <a16:rowId xmlns:a16="http://schemas.microsoft.com/office/drawing/2014/main" val="2604517661"/>
                      </a:ext>
                    </a:extLst>
                  </a:tr>
                  <a:tr h="233627">
                    <a:tc>
                      <a:txBody>
                        <a:bodyPr/>
                        <a:lstStyle/>
                        <a:p>
                          <a:pPr marL="0" marR="0" algn="l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r>
                                  <m:rPr>
                                    <m:sty m:val="p"/>
                                  </m:rPr>
                                  <a:rPr lang="en-US" sz="1400" b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Δ</m:t>
                                </m:r>
                                <m:r>
                                  <m:rPr>
                                    <m:sty m:val="p"/>
                                  </m:rPr>
                                  <a:rPr lang="en-US" sz="1400" b="0" i="1">
                                    <a:effectLst/>
                                    <a:latin typeface="Cambria Math" panose="02040503050406030204" pitchFamily="18" charset="0"/>
                                  </a:rPr>
                                  <m:t>EXP</m:t>
                                </m:r>
                              </m:oMath>
                            </m:oMathPara>
                          </a14:m>
                          <a:endParaRPr lang="en-US" sz="1400" b="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Tot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Inv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Cur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Tot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Inv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Cur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Tot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Inv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Cur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extLst>
                      <a:ext uri="{0D108BD9-81ED-4DB2-BD59-A6C34878D82A}">
                        <a16:rowId xmlns:a16="http://schemas.microsoft.com/office/drawing/2014/main" val="3690279802"/>
                      </a:ext>
                    </a:extLst>
                  </a:tr>
                  <a:tr h="233627">
                    <a:tc>
                      <a:txBody>
                        <a:bodyPr/>
                        <a:lstStyle/>
                        <a:p>
                          <a:pPr marL="0" marR="0" algn="l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sSup>
                                  <m:sSupPr>
                                    <m:ctrlPr>
                                      <a:rPr lang="en-US" sz="1400" b="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en-US" sz="1400" b="0" smtClean="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Δ</m:t>
                                    </m:r>
                                  </m:e>
                                  <m:sup>
                                    <m:r>
                                      <a:rPr lang="en-US" sz="1400" b="0" smtClean="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+</m:t>
                                    </m:r>
                                  </m:sup>
                                </m:sSup>
                                <m:r>
                                  <m:rPr>
                                    <m:sty m:val="p"/>
                                  </m:rPr>
                                  <a:rPr lang="en-US" sz="1400" b="0" i="1" smtClean="0">
                                    <a:effectLst/>
                                    <a:latin typeface="Cambria Math" panose="02040503050406030204" pitchFamily="18" charset="0"/>
                                  </a:rPr>
                                  <m:t>RENT</m:t>
                                </m:r>
                              </m:oMath>
                            </m:oMathPara>
                          </a14:m>
                          <a:endParaRPr lang="en-US" sz="1400" b="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913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153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732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 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extLst>
                      <a:ext uri="{0D108BD9-81ED-4DB2-BD59-A6C34878D82A}">
                        <a16:rowId xmlns:a16="http://schemas.microsoft.com/office/drawing/2014/main" val="3880871698"/>
                      </a:ext>
                    </a:extLst>
                  </a:tr>
                  <a:tr h="223294">
                    <a:tc>
                      <a:txBody>
                        <a:bodyPr/>
                        <a:lstStyle/>
                        <a:p>
                          <a:pPr marL="0" marR="0" algn="l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b="0" dirty="0">
                              <a:effectLst/>
                            </a:rPr>
                            <a:t> </a:t>
                          </a:r>
                          <a:endParaRPr lang="en-US" sz="1400" b="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319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045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284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 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extLst>
                      <a:ext uri="{0D108BD9-81ED-4DB2-BD59-A6C34878D82A}">
                        <a16:rowId xmlns:a16="http://schemas.microsoft.com/office/drawing/2014/main" val="2513478789"/>
                      </a:ext>
                    </a:extLst>
                  </a:tr>
                  <a:tr h="233627">
                    <a:tc>
                      <a:txBody>
                        <a:bodyPr/>
                        <a:lstStyle/>
                        <a:p>
                          <a:pPr marL="0" marR="0" algn="l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sSup>
                                  <m:sSupPr>
                                    <m:ctrlPr>
                                      <a:rPr lang="en-US" sz="1400" b="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en-US" sz="1400" b="0" smtClean="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Δ</m:t>
                                    </m:r>
                                  </m:e>
                                  <m:sup>
                                    <m:r>
                                      <a:rPr lang="en-US" sz="1400" b="0" smtClean="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−</m:t>
                                    </m:r>
                                  </m:sup>
                                </m:sSup>
                                <m:r>
                                  <m:rPr>
                                    <m:sty m:val="p"/>
                                  </m:rPr>
                                  <a:rPr lang="en-US" sz="1400" b="0" i="1" smtClean="0">
                                    <a:effectLst/>
                                    <a:latin typeface="Cambria Math" panose="02040503050406030204" pitchFamily="18" charset="0"/>
                                  </a:rPr>
                                  <m:t>RENT</m:t>
                                </m:r>
                              </m:oMath>
                            </m:oMathPara>
                          </a14:m>
                          <a:endParaRPr lang="en-US" sz="1400" b="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873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160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906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 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extLst>
                      <a:ext uri="{0D108BD9-81ED-4DB2-BD59-A6C34878D82A}">
                        <a16:rowId xmlns:a16="http://schemas.microsoft.com/office/drawing/2014/main" val="3081125907"/>
                      </a:ext>
                    </a:extLst>
                  </a:tr>
                  <a:tr h="223294">
                    <a:tc>
                      <a:txBody>
                        <a:bodyPr/>
                        <a:lstStyle/>
                        <a:p>
                          <a:pPr marL="0" marR="0" algn="l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b="0" dirty="0">
                              <a:effectLst/>
                            </a:rPr>
                            <a:t> </a:t>
                          </a:r>
                          <a:endParaRPr lang="en-US" sz="1400" b="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258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027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289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 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extLst>
                      <a:ext uri="{0D108BD9-81ED-4DB2-BD59-A6C34878D82A}">
                        <a16:rowId xmlns:a16="http://schemas.microsoft.com/office/drawing/2014/main" val="4096135617"/>
                      </a:ext>
                    </a:extLst>
                  </a:tr>
                  <a:tr h="229399">
                    <a:tc>
                      <a:txBody>
                        <a:bodyPr/>
                        <a:lstStyle/>
                        <a:p>
                          <a:pPr marL="0" marR="0" algn="l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 xmlns:m="http://schemas.openxmlformats.org/officeDocument/2006/math">
                              <m:r>
                                <m:rPr>
                                  <m:sty m:val="p"/>
                                </m:rPr>
                                <a:rPr lang="en-US" sz="1400" b="0" smtClean="0">
                                  <a:effectLst/>
                                  <a:latin typeface="Cambria Math" panose="02040503050406030204" pitchFamily="18" charset="0"/>
                                </a:rPr>
                                <m:t>Δ</m:t>
                              </m:r>
                              <m:r>
                                <m:rPr>
                                  <m:sty m:val="p"/>
                                </m:rPr>
                                <a:rPr lang="en-US" sz="1400" b="0" i="1">
                                  <a:effectLst/>
                                  <a:latin typeface="Cambria Math" panose="02040503050406030204" pitchFamily="18" charset="0"/>
                                </a:rPr>
                                <m:t>REN</m:t>
                              </m:r>
                              <m:sSub>
                                <m:sSubPr>
                                  <m:ctrlPr>
                                    <a:rPr lang="en-US" sz="1400" b="0" i="1">
                                      <a:effectLst/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US" sz="1400" b="0" i="1" smtClean="0">
                                      <a:effectLst/>
                                      <a:latin typeface="Cambria Math" panose="02040503050406030204" pitchFamily="18" charset="0"/>
                                    </a:rPr>
                                    <m:t>T</m:t>
                                  </m:r>
                                </m:e>
                                <m:sub>
                                  <m:r>
                                    <m:rPr>
                                      <m:sty m:val="p"/>
                                    </m:rPr>
                                    <a:rPr lang="en-US" sz="1400" b="0" i="1" smtClean="0">
                                      <a:effectLst/>
                                      <a:latin typeface="Cambria Math" panose="02040503050406030204" pitchFamily="18" charset="0"/>
                                    </a:rPr>
                                    <m:t>H</m:t>
                                  </m:r>
                                </m:sub>
                              </m:sSub>
                            </m:oMath>
                          </a14:m>
                          <a:r>
                            <a:rPr lang="en-US" sz="1400" b="0" dirty="0">
                              <a:effectLst/>
                            </a:rPr>
                            <a:t> </a:t>
                          </a:r>
                          <a:endParaRPr lang="en-US" sz="1400" b="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396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128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323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 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extLst>
                      <a:ext uri="{0D108BD9-81ED-4DB2-BD59-A6C34878D82A}">
                        <a16:rowId xmlns:a16="http://schemas.microsoft.com/office/drawing/2014/main" val="3613171440"/>
                      </a:ext>
                    </a:extLst>
                  </a:tr>
                  <a:tr h="223294">
                    <a:tc>
                      <a:txBody>
                        <a:bodyPr/>
                        <a:lstStyle/>
                        <a:p>
                          <a:pPr marL="0" marR="0" algn="l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b="0" dirty="0">
                              <a:effectLst/>
                            </a:rPr>
                            <a:t> </a:t>
                          </a:r>
                          <a:endParaRPr lang="en-US" sz="1400" b="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132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042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101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extLst>
                      <a:ext uri="{0D108BD9-81ED-4DB2-BD59-A6C34878D82A}">
                        <a16:rowId xmlns:a16="http://schemas.microsoft.com/office/drawing/2014/main" val="667264642"/>
                      </a:ext>
                    </a:extLst>
                  </a:tr>
                  <a:tr h="233627">
                    <a:tc>
                      <a:txBody>
                        <a:bodyPr/>
                        <a:lstStyle/>
                        <a:p>
                          <a:pPr marL="0" marR="0" algn="l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r>
                                  <m:rPr>
                                    <m:sty m:val="p"/>
                                  </m:rPr>
                                  <a:rPr lang="en-US" sz="1400" b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Δ</m:t>
                                </m:r>
                                <m:r>
                                  <m:rPr>
                                    <m:sty m:val="p"/>
                                  </m:rPr>
                                  <a:rPr lang="en-US" sz="1400" b="0" i="1">
                                    <a:effectLst/>
                                    <a:latin typeface="Cambria Math" panose="02040503050406030204" pitchFamily="18" charset="0"/>
                                  </a:rPr>
                                  <m:t>REN</m:t>
                                </m:r>
                                <m:sSub>
                                  <m:sSubPr>
                                    <m:ctrlPr>
                                      <a:rPr lang="en-US" sz="1400" b="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en-US" sz="1400" b="0" i="1" smtClean="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T</m:t>
                                    </m:r>
                                  </m:e>
                                  <m:sub>
                                    <m:r>
                                      <m:rPr>
                                        <m:sty m:val="p"/>
                                      </m:rPr>
                                      <a:rPr lang="en-US" sz="1400" b="0" i="1" smtClean="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L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400" b="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.264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181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.245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 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extLst>
                      <a:ext uri="{0D108BD9-81ED-4DB2-BD59-A6C34878D82A}">
                        <a16:rowId xmlns:a16="http://schemas.microsoft.com/office/drawing/2014/main" val="805130383"/>
                      </a:ext>
                    </a:extLst>
                  </a:tr>
                  <a:tr h="223294">
                    <a:tc>
                      <a:txBody>
                        <a:bodyPr/>
                        <a:lstStyle/>
                        <a:p>
                          <a:pPr marL="0" marR="0" algn="l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b="0" dirty="0">
                              <a:effectLst/>
                            </a:rPr>
                            <a:t> </a:t>
                          </a:r>
                          <a:endParaRPr lang="en-US" sz="1400" b="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407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031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441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extLst>
                      <a:ext uri="{0D108BD9-81ED-4DB2-BD59-A6C34878D82A}">
                        <a16:rowId xmlns:a16="http://schemas.microsoft.com/office/drawing/2014/main" val="1244311936"/>
                      </a:ext>
                    </a:extLst>
                  </a:tr>
                  <a:tr h="229399">
                    <a:tc>
                      <a:txBody>
                        <a:bodyPr/>
                        <a:lstStyle/>
                        <a:p>
                          <a:pPr marL="0" marR="0" algn="l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 xmlns:m="http://schemas.openxmlformats.org/officeDocument/2006/math">
                              <m:sSup>
                                <m:sSupPr>
                                  <m:ctrlPr>
                                    <a:rPr lang="en-US" sz="1400" b="0" i="1">
                                      <a:effectLst/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US" sz="1400" b="0" smtClean="0">
                                      <a:effectLst/>
                                      <a:latin typeface="Cambria Math" panose="02040503050406030204" pitchFamily="18" charset="0"/>
                                    </a:rPr>
                                    <m:t>Δ</m:t>
                                  </m:r>
                                </m:e>
                                <m:sup>
                                  <m:r>
                                    <a:rPr lang="en-US" sz="1400" b="0" smtClean="0">
                                      <a:effectLst/>
                                      <a:latin typeface="Cambria Math" panose="02040503050406030204" pitchFamily="18" charset="0"/>
                                    </a:rPr>
                                    <m:t>+</m:t>
                                  </m:r>
                                </m:sup>
                              </m:sSup>
                              <m:r>
                                <m:rPr>
                                  <m:sty m:val="p"/>
                                </m:rPr>
                                <a:rPr lang="en-US" sz="1400" b="0" i="1" smtClean="0">
                                  <a:effectLst/>
                                  <a:latin typeface="Cambria Math" panose="02040503050406030204" pitchFamily="18" charset="0"/>
                                </a:rPr>
                                <m:t>REN</m:t>
                              </m:r>
                              <m:sSub>
                                <m:sSubPr>
                                  <m:ctrlPr>
                                    <a:rPr lang="en-US" sz="1400" b="0" i="1">
                                      <a:effectLst/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US" sz="1400" b="0" i="1" smtClean="0">
                                      <a:effectLst/>
                                      <a:latin typeface="Cambria Math" panose="02040503050406030204" pitchFamily="18" charset="0"/>
                                    </a:rPr>
                                    <m:t>T</m:t>
                                  </m:r>
                                </m:e>
                                <m:sub>
                                  <m:r>
                                    <m:rPr>
                                      <m:sty m:val="p"/>
                                    </m:rPr>
                                    <a:rPr lang="en-US" sz="1400" b="0" i="1" smtClean="0">
                                      <a:effectLst/>
                                      <a:latin typeface="Cambria Math" panose="02040503050406030204" pitchFamily="18" charset="0"/>
                                    </a:rPr>
                                    <m:t>H</m:t>
                                  </m:r>
                                </m:sub>
                              </m:sSub>
                            </m:oMath>
                          </a14:m>
                          <a:r>
                            <a:rPr lang="en-US" sz="1400" b="0" dirty="0">
                              <a:effectLst/>
                            </a:rPr>
                            <a:t> </a:t>
                          </a:r>
                          <a:endParaRPr lang="en-US" sz="1400" b="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 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731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168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0.557***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extLst>
                      <a:ext uri="{0D108BD9-81ED-4DB2-BD59-A6C34878D82A}">
                        <a16:rowId xmlns:a16="http://schemas.microsoft.com/office/drawing/2014/main" val="316861962"/>
                      </a:ext>
                    </a:extLst>
                  </a:tr>
                  <a:tr h="223294">
                    <a:tc>
                      <a:txBody>
                        <a:bodyPr/>
                        <a:lstStyle/>
                        <a:p>
                          <a:pPr marL="0" marR="0" algn="l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b="0" dirty="0">
                              <a:effectLst/>
                            </a:rPr>
                            <a:t> </a:t>
                          </a:r>
                          <a:endParaRPr lang="en-US" sz="1400" b="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 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244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056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202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extLst>
                      <a:ext uri="{0D108BD9-81ED-4DB2-BD59-A6C34878D82A}">
                        <a16:rowId xmlns:a16="http://schemas.microsoft.com/office/drawing/2014/main" val="674827932"/>
                      </a:ext>
                    </a:extLst>
                  </a:tr>
                  <a:tr h="233627">
                    <a:tc>
                      <a:txBody>
                        <a:bodyPr/>
                        <a:lstStyle/>
                        <a:p>
                          <a:pPr marL="0" marR="0" algn="l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sSup>
                                  <m:sSupPr>
                                    <m:ctrlPr>
                                      <a:rPr lang="en-US" sz="1400" b="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en-US" sz="1400" b="0" smtClean="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Δ</m:t>
                                    </m:r>
                                  </m:e>
                                  <m:sup>
                                    <m:r>
                                      <a:rPr lang="en-US" sz="1400" b="0" smtClean="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−</m:t>
                                    </m:r>
                                  </m:sup>
                                </m:sSup>
                                <m:r>
                                  <m:rPr>
                                    <m:sty m:val="p"/>
                                  </m:rPr>
                                  <a:rPr lang="en-US" sz="1400" b="0" i="1" smtClean="0">
                                    <a:effectLst/>
                                    <a:latin typeface="Cambria Math" panose="02040503050406030204" pitchFamily="18" charset="0"/>
                                  </a:rPr>
                                  <m:t>REN</m:t>
                                </m:r>
                                <m:sSub>
                                  <m:sSubPr>
                                    <m:ctrlPr>
                                      <a:rPr lang="en-US" sz="1400" b="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en-US" sz="1400" b="0" i="1" smtClean="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T</m:t>
                                    </m:r>
                                  </m:e>
                                  <m:sub>
                                    <m:r>
                                      <m:rPr>
                                        <m:sty m:val="p"/>
                                      </m:rPr>
                                      <a:rPr lang="en-US" sz="1400" b="0" i="1" smtClean="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H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400" b="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0.341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0.008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-0.164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extLst>
                      <a:ext uri="{0D108BD9-81ED-4DB2-BD59-A6C34878D82A}">
                        <a16:rowId xmlns:a16="http://schemas.microsoft.com/office/drawing/2014/main" val="1102858490"/>
                      </a:ext>
                    </a:extLst>
                  </a:tr>
                  <a:tr h="223294">
                    <a:tc>
                      <a:txBody>
                        <a:bodyPr/>
                        <a:lstStyle/>
                        <a:p>
                          <a:pPr marL="0" marR="0" algn="l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b="0" dirty="0">
                              <a:effectLst/>
                            </a:rPr>
                            <a:t> </a:t>
                          </a:r>
                          <a:endParaRPr lang="en-US" sz="1400" b="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 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275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114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(0.242)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extLst>
                      <a:ext uri="{0D108BD9-81ED-4DB2-BD59-A6C34878D82A}">
                        <a16:rowId xmlns:a16="http://schemas.microsoft.com/office/drawing/2014/main" val="3877228342"/>
                      </a:ext>
                    </a:extLst>
                  </a:tr>
                  <a:tr h="233627">
                    <a:tc>
                      <a:txBody>
                        <a:bodyPr/>
                        <a:lstStyle/>
                        <a:p>
                          <a:pPr marL="0" marR="0" algn="l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sSup>
                                  <m:sSupPr>
                                    <m:ctrlPr>
                                      <a:rPr lang="en-US" sz="1400" b="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en-US" sz="1400" b="0" smtClean="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Δ</m:t>
                                    </m:r>
                                  </m:e>
                                  <m:sup>
                                    <m:r>
                                      <a:rPr lang="en-US" sz="1400" b="0" smtClean="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+</m:t>
                                    </m:r>
                                  </m:sup>
                                </m:sSup>
                                <m:r>
                                  <m:rPr>
                                    <m:sty m:val="p"/>
                                  </m:rPr>
                                  <a:rPr lang="en-US" sz="1400" b="0" i="1" smtClean="0">
                                    <a:effectLst/>
                                    <a:latin typeface="Cambria Math" panose="02040503050406030204" pitchFamily="18" charset="0"/>
                                  </a:rPr>
                                  <m:t>REN</m:t>
                                </m:r>
                                <m:sSub>
                                  <m:sSubPr>
                                    <m:ctrlPr>
                                      <a:rPr lang="en-US" sz="1400" b="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en-US" sz="1400" b="0" i="1" smtClean="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T</m:t>
                                    </m:r>
                                  </m:e>
                                  <m:sub>
                                    <m:r>
                                      <m:rPr>
                                        <m:sty m:val="p"/>
                                      </m:rPr>
                                      <a:rPr lang="en-US" sz="1400" b="0" i="1" smtClean="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L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400" b="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.119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160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.871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extLst>
                      <a:ext uri="{0D108BD9-81ED-4DB2-BD59-A6C34878D82A}">
                        <a16:rowId xmlns:a16="http://schemas.microsoft.com/office/drawing/2014/main" val="3708789037"/>
                      </a:ext>
                    </a:extLst>
                  </a:tr>
                  <a:tr h="223294">
                    <a:tc>
                      <a:txBody>
                        <a:bodyPr/>
                        <a:lstStyle/>
                        <a:p>
                          <a:pPr marL="0" marR="0" algn="l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b="0" dirty="0">
                              <a:effectLst/>
                            </a:rPr>
                            <a:t> </a:t>
                          </a:r>
                          <a:endParaRPr lang="en-US" sz="1400" b="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 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571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036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(0.591)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extLst>
                      <a:ext uri="{0D108BD9-81ED-4DB2-BD59-A6C34878D82A}">
                        <a16:rowId xmlns:a16="http://schemas.microsoft.com/office/drawing/2014/main" val="175297437"/>
                      </a:ext>
                    </a:extLst>
                  </a:tr>
                  <a:tr h="233627">
                    <a:tc>
                      <a:txBody>
                        <a:bodyPr/>
                        <a:lstStyle/>
                        <a:p>
                          <a:pPr marL="0" marR="0" algn="l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sSup>
                                  <m:sSupPr>
                                    <m:ctrlPr>
                                      <a:rPr lang="en-US" sz="1400" b="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en-US" sz="1400" b="0" smtClean="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Δ</m:t>
                                    </m:r>
                                  </m:e>
                                  <m:sup>
                                    <m:r>
                                      <a:rPr lang="en-US" sz="1400" b="0" smtClean="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−</m:t>
                                    </m:r>
                                  </m:sup>
                                </m:sSup>
                                <m:r>
                                  <m:rPr>
                                    <m:sty m:val="p"/>
                                  </m:rPr>
                                  <a:rPr lang="en-US" sz="1400" b="0" i="1" smtClean="0">
                                    <a:effectLst/>
                                    <a:latin typeface="Cambria Math" panose="02040503050406030204" pitchFamily="18" charset="0"/>
                                  </a:rPr>
                                  <m:t>REN</m:t>
                                </m:r>
                                <m:sSub>
                                  <m:sSubPr>
                                    <m:ctrlPr>
                                      <a:rPr lang="en-US" sz="1400" b="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en-US" sz="1400" b="0" i="1" smtClean="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T</m:t>
                                    </m:r>
                                  </m:e>
                                  <m:sub>
                                    <m:r>
                                      <m:rPr>
                                        <m:sty m:val="p"/>
                                      </m:rPr>
                                      <a:rPr lang="en-US" sz="1400" b="0" i="1" smtClean="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L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400" b="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917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176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968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extLst>
                      <a:ext uri="{0D108BD9-81ED-4DB2-BD59-A6C34878D82A}">
                        <a16:rowId xmlns:a16="http://schemas.microsoft.com/office/drawing/2014/main" val="3726573122"/>
                      </a:ext>
                    </a:extLst>
                  </a:tr>
                  <a:tr h="223294">
                    <a:tc>
                      <a:txBody>
                        <a:bodyPr/>
                        <a:lstStyle/>
                        <a:p>
                          <a:pPr marL="0" marR="0" algn="l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b="0" dirty="0">
                              <a:effectLst/>
                            </a:rPr>
                            <a:t> </a:t>
                          </a:r>
                          <a:endParaRPr lang="en-US" sz="1400" b="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 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277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030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(0.325)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extLst>
                      <a:ext uri="{0D108BD9-81ED-4DB2-BD59-A6C34878D82A}">
                        <a16:rowId xmlns:a16="http://schemas.microsoft.com/office/drawing/2014/main" val="2263957454"/>
                      </a:ext>
                    </a:extLst>
                  </a:tr>
                  <a:tr h="229399">
                    <a:tc>
                      <a:txBody>
                        <a:bodyPr/>
                        <a:lstStyle/>
                        <a:p>
                          <a:pPr marL="0" marR="0" algn="l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b="0" dirty="0">
                              <a:effectLst/>
                            </a:rPr>
                            <a:t>Constant</a:t>
                          </a:r>
                          <a:endParaRPr lang="en-US" sz="1400" b="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618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062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977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.256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21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.861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0.84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0.095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-0.373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extLst>
                      <a:ext uri="{0D108BD9-81ED-4DB2-BD59-A6C34878D82A}">
                        <a16:rowId xmlns:a16="http://schemas.microsoft.com/office/drawing/2014/main" val="358653287"/>
                      </a:ext>
                    </a:extLst>
                  </a:tr>
                  <a:tr h="223294">
                    <a:tc>
                      <a:txBody>
                        <a:bodyPr/>
                        <a:lstStyle/>
                        <a:p>
                          <a:pPr marL="0" marR="0" algn="l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b="0" dirty="0">
                              <a:effectLst/>
                            </a:rPr>
                            <a:t> </a:t>
                          </a:r>
                          <a:endParaRPr lang="en-US" sz="1400" b="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(0.504)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149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203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614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07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517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629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203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(0.469)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extLst>
                      <a:ext uri="{0D108BD9-81ED-4DB2-BD59-A6C34878D82A}">
                        <a16:rowId xmlns:a16="http://schemas.microsoft.com/office/drawing/2014/main" val="2461749295"/>
                      </a:ext>
                    </a:extLst>
                  </a:tr>
                  <a:tr h="229399">
                    <a:tc>
                      <a:txBody>
                        <a:bodyPr/>
                        <a:lstStyle/>
                        <a:p>
                          <a:pPr marL="0" marR="0" algn="l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b="0" dirty="0">
                              <a:effectLst/>
                            </a:rPr>
                            <a:t>Observations</a:t>
                          </a:r>
                          <a:endParaRPr lang="en-US" sz="1400" b="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584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546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546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584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546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546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584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546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546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extLst>
                      <a:ext uri="{0D108BD9-81ED-4DB2-BD59-A6C34878D82A}">
                        <a16:rowId xmlns:a16="http://schemas.microsoft.com/office/drawing/2014/main" val="2620366658"/>
                      </a:ext>
                    </a:extLst>
                  </a:tr>
                  <a:tr h="235748">
                    <a:tc>
                      <a:txBody>
                        <a:bodyPr/>
                        <a:lstStyle/>
                        <a:p>
                          <a:pPr marL="0" marR="0" algn="l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b="0" dirty="0">
                              <a:effectLst/>
                            </a:rPr>
                            <a:t>No. of countries</a:t>
                          </a:r>
                          <a:endParaRPr lang="en-US" sz="1400" b="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30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0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30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0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0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0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0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0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30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extLst>
                      <a:ext uri="{0D108BD9-81ED-4DB2-BD59-A6C34878D82A}">
                        <a16:rowId xmlns:a16="http://schemas.microsoft.com/office/drawing/2014/main" val="1010625662"/>
                      </a:ext>
                    </a:extLst>
                  </a:tr>
                  <a:tr h="223294">
                    <a:tc>
                      <a:txBody>
                        <a:bodyPr/>
                        <a:lstStyle/>
                        <a:p>
                          <a:pPr marL="0" marR="0" algn="l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b="0" dirty="0">
                              <a:effectLst/>
                            </a:rPr>
                            <a:t>R</a:t>
                          </a:r>
                          <a:r>
                            <a:rPr lang="en-US" sz="1400" b="0" baseline="30000" dirty="0">
                              <a:effectLst/>
                            </a:rPr>
                            <a:t>2</a:t>
                          </a:r>
                          <a:endParaRPr lang="en-US" sz="1400" b="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0.333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247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32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396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25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41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432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268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0.436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extLst>
                      <a:ext uri="{0D108BD9-81ED-4DB2-BD59-A6C34878D82A}">
                        <a16:rowId xmlns:a16="http://schemas.microsoft.com/office/drawing/2014/main" val="2029498262"/>
                      </a:ext>
                    </a:extLst>
                  </a:tr>
                  <a:tr h="229399">
                    <a:tc>
                      <a:txBody>
                        <a:bodyPr/>
                        <a:lstStyle/>
                        <a:p>
                          <a:pPr marL="0" marR="0" algn="l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b="0" dirty="0">
                              <a:effectLst/>
                            </a:rPr>
                            <a:t>Wald test</a:t>
                          </a:r>
                          <a:endParaRPr lang="en-US" sz="1400" b="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0.07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0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8.43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8.31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.49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.76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.34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.24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7.17***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extLst>
                      <a:ext uri="{0D108BD9-81ED-4DB2-BD59-A6C34878D82A}">
                        <a16:rowId xmlns:a16="http://schemas.microsoft.com/office/drawing/2014/main" val="2152281214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4" name="Table 3">
                <a:extLst>
                  <a:ext uri="{FF2B5EF4-FFF2-40B4-BE49-F238E27FC236}">
                    <a16:creationId xmlns:a16="http://schemas.microsoft.com/office/drawing/2014/main" id="{60E9C4ED-8EF8-5753-87C1-73BE63865A92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790000902"/>
                  </p:ext>
                </p:extLst>
              </p:nvPr>
            </p:nvGraphicFramePr>
            <p:xfrm>
              <a:off x="675104" y="863373"/>
              <a:ext cx="10783273" cy="5474366"/>
            </p:xfrm>
            <a:graphic>
              <a:graphicData uri="http://schemas.openxmlformats.org/drawingml/2006/table">
                <a:tbl>
                  <a:tblPr firstRow="1" firstCol="1" bandRow="1">
                    <a:tableStyleId>{5C22544A-7EE6-4342-B048-85BDC9FD1C3A}</a:tableStyleId>
                  </a:tblPr>
                  <a:tblGrid>
                    <a:gridCol w="1362291">
                      <a:extLst>
                        <a:ext uri="{9D8B030D-6E8A-4147-A177-3AD203B41FA5}">
                          <a16:colId xmlns:a16="http://schemas.microsoft.com/office/drawing/2014/main" val="1406452422"/>
                        </a:ext>
                      </a:extLst>
                    </a:gridCol>
                    <a:gridCol w="979838">
                      <a:extLst>
                        <a:ext uri="{9D8B030D-6E8A-4147-A177-3AD203B41FA5}">
                          <a16:colId xmlns:a16="http://schemas.microsoft.com/office/drawing/2014/main" val="3278755660"/>
                        </a:ext>
                      </a:extLst>
                    </a:gridCol>
                    <a:gridCol w="1107997">
                      <a:extLst>
                        <a:ext uri="{9D8B030D-6E8A-4147-A177-3AD203B41FA5}">
                          <a16:colId xmlns:a16="http://schemas.microsoft.com/office/drawing/2014/main" val="533336872"/>
                        </a:ext>
                      </a:extLst>
                    </a:gridCol>
                    <a:gridCol w="1000023">
                      <a:extLst>
                        <a:ext uri="{9D8B030D-6E8A-4147-A177-3AD203B41FA5}">
                          <a16:colId xmlns:a16="http://schemas.microsoft.com/office/drawing/2014/main" val="2169261049"/>
                        </a:ext>
                      </a:extLst>
                    </a:gridCol>
                    <a:gridCol w="979838">
                      <a:extLst>
                        <a:ext uri="{9D8B030D-6E8A-4147-A177-3AD203B41FA5}">
                          <a16:colId xmlns:a16="http://schemas.microsoft.com/office/drawing/2014/main" val="578420073"/>
                        </a:ext>
                      </a:extLst>
                    </a:gridCol>
                    <a:gridCol w="1184685">
                      <a:extLst>
                        <a:ext uri="{9D8B030D-6E8A-4147-A177-3AD203B41FA5}">
                          <a16:colId xmlns:a16="http://schemas.microsoft.com/office/drawing/2014/main" val="3001129583"/>
                        </a:ext>
                      </a:extLst>
                    </a:gridCol>
                    <a:gridCol w="1000023">
                      <a:extLst>
                        <a:ext uri="{9D8B030D-6E8A-4147-A177-3AD203B41FA5}">
                          <a16:colId xmlns:a16="http://schemas.microsoft.com/office/drawing/2014/main" val="2541661245"/>
                        </a:ext>
                      </a:extLst>
                    </a:gridCol>
                    <a:gridCol w="979838">
                      <a:extLst>
                        <a:ext uri="{9D8B030D-6E8A-4147-A177-3AD203B41FA5}">
                          <a16:colId xmlns:a16="http://schemas.microsoft.com/office/drawing/2014/main" val="918754706"/>
                        </a:ext>
                      </a:extLst>
                    </a:gridCol>
                    <a:gridCol w="1004055">
                      <a:extLst>
                        <a:ext uri="{9D8B030D-6E8A-4147-A177-3AD203B41FA5}">
                          <a16:colId xmlns:a16="http://schemas.microsoft.com/office/drawing/2014/main" val="2181972684"/>
                        </a:ext>
                      </a:extLst>
                    </a:gridCol>
                    <a:gridCol w="1184685">
                      <a:extLst>
                        <a:ext uri="{9D8B030D-6E8A-4147-A177-3AD203B41FA5}">
                          <a16:colId xmlns:a16="http://schemas.microsoft.com/office/drawing/2014/main" val="3028435800"/>
                        </a:ext>
                      </a:extLst>
                    </a:gridCol>
                  </a:tblGrid>
                  <a:tr h="223294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 dirty="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</a:t>
                          </a:r>
                          <a:r>
                            <a:rPr lang="ru-RU" sz="1400">
                              <a:effectLst/>
                            </a:rPr>
                            <a:t>1</a:t>
                          </a:r>
                          <a:r>
                            <a:rPr lang="en-US" sz="1400">
                              <a:effectLst/>
                            </a:rPr>
                            <a:t>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</a:t>
                          </a:r>
                          <a:r>
                            <a:rPr lang="ru-RU" sz="1400">
                              <a:effectLst/>
                            </a:rPr>
                            <a:t>2</a:t>
                          </a:r>
                          <a:r>
                            <a:rPr lang="en-US" sz="1400">
                              <a:effectLst/>
                            </a:rPr>
                            <a:t>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</a:t>
                          </a:r>
                          <a:r>
                            <a:rPr lang="ru-RU" sz="1400">
                              <a:effectLst/>
                            </a:rPr>
                            <a:t>3</a:t>
                          </a:r>
                          <a:r>
                            <a:rPr lang="en-US" sz="1400">
                              <a:effectLst/>
                            </a:rPr>
                            <a:t>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</a:t>
                          </a:r>
                          <a:r>
                            <a:rPr lang="ru-RU" sz="1400">
                              <a:effectLst/>
                            </a:rPr>
                            <a:t>4</a:t>
                          </a:r>
                          <a:r>
                            <a:rPr lang="en-US" sz="1400">
                              <a:effectLst/>
                            </a:rPr>
                            <a:t>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</a:t>
                          </a:r>
                          <a:r>
                            <a:rPr lang="ru-RU" sz="1400">
                              <a:effectLst/>
                            </a:rPr>
                            <a:t>5</a:t>
                          </a:r>
                          <a:r>
                            <a:rPr lang="en-US" sz="1400">
                              <a:effectLst/>
                            </a:rPr>
                            <a:t>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</a:t>
                          </a:r>
                          <a:r>
                            <a:rPr lang="ru-RU" sz="1400">
                              <a:effectLst/>
                            </a:rPr>
                            <a:t>6</a:t>
                          </a:r>
                          <a:r>
                            <a:rPr lang="en-US" sz="1400">
                              <a:effectLst/>
                            </a:rPr>
                            <a:t>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7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8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(9)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extLst>
                      <a:ext uri="{0D108BD9-81ED-4DB2-BD59-A6C34878D82A}">
                        <a16:rowId xmlns:a16="http://schemas.microsoft.com/office/drawing/2014/main" val="2604517661"/>
                      </a:ext>
                    </a:extLst>
                  </a:tr>
                  <a:tr h="233627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17519" marR="17519" marT="0" marB="0" anchor="ctr">
                        <a:blipFill>
                          <a:blip r:embed="rId3"/>
                          <a:stretch>
                            <a:fillRect l="-446" t="-115789" r="-691964" b="-221315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Tot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Inv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Cur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Tot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Inv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Cur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Tot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Inv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 algn="ctr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Cur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extLst>
                      <a:ext uri="{0D108BD9-81ED-4DB2-BD59-A6C34878D82A}">
                        <a16:rowId xmlns:a16="http://schemas.microsoft.com/office/drawing/2014/main" val="3690279802"/>
                      </a:ext>
                    </a:extLst>
                  </a:tr>
                  <a:tr h="233627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17519" marR="17519" marT="0" marB="0" anchor="ctr">
                        <a:blipFill>
                          <a:blip r:embed="rId3"/>
                          <a:stretch>
                            <a:fillRect l="-446" t="-215789" r="-691964" b="-211315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913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153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732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 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extLst>
                      <a:ext uri="{0D108BD9-81ED-4DB2-BD59-A6C34878D82A}">
                        <a16:rowId xmlns:a16="http://schemas.microsoft.com/office/drawing/2014/main" val="3880871698"/>
                      </a:ext>
                    </a:extLst>
                  </a:tr>
                  <a:tr h="223294">
                    <a:tc>
                      <a:txBody>
                        <a:bodyPr/>
                        <a:lstStyle/>
                        <a:p>
                          <a:pPr marL="0" marR="0" algn="l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b="0" dirty="0">
                              <a:effectLst/>
                            </a:rPr>
                            <a:t> </a:t>
                          </a:r>
                          <a:endParaRPr lang="en-US" sz="1400" b="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319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045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284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 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extLst>
                      <a:ext uri="{0D108BD9-81ED-4DB2-BD59-A6C34878D82A}">
                        <a16:rowId xmlns:a16="http://schemas.microsoft.com/office/drawing/2014/main" val="2513478789"/>
                      </a:ext>
                    </a:extLst>
                  </a:tr>
                  <a:tr h="233627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17519" marR="17519" marT="0" marB="0" anchor="ctr">
                        <a:blipFill>
                          <a:blip r:embed="rId3"/>
                          <a:stretch>
                            <a:fillRect l="-446" t="-413158" r="-691964" b="-1915789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873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160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906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 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extLst>
                      <a:ext uri="{0D108BD9-81ED-4DB2-BD59-A6C34878D82A}">
                        <a16:rowId xmlns:a16="http://schemas.microsoft.com/office/drawing/2014/main" val="3081125907"/>
                      </a:ext>
                    </a:extLst>
                  </a:tr>
                  <a:tr h="223294">
                    <a:tc>
                      <a:txBody>
                        <a:bodyPr/>
                        <a:lstStyle/>
                        <a:p>
                          <a:pPr marL="0" marR="0" algn="l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b="0" dirty="0">
                              <a:effectLst/>
                            </a:rPr>
                            <a:t> </a:t>
                          </a:r>
                          <a:endParaRPr lang="en-US" sz="1400" b="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258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027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289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 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extLst>
                      <a:ext uri="{0D108BD9-81ED-4DB2-BD59-A6C34878D82A}">
                        <a16:rowId xmlns:a16="http://schemas.microsoft.com/office/drawing/2014/main" val="4096135617"/>
                      </a:ext>
                    </a:extLst>
                  </a:tr>
                  <a:tr h="229399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17519" marR="17519" marT="0" marB="0" anchor="ctr">
                        <a:blipFill>
                          <a:blip r:embed="rId3"/>
                          <a:stretch>
                            <a:fillRect l="-446" t="-610526" r="-691964" b="-171842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400">
                            <a:effectLst/>
                            <a:latin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396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128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323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 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extLst>
                      <a:ext uri="{0D108BD9-81ED-4DB2-BD59-A6C34878D82A}">
                        <a16:rowId xmlns:a16="http://schemas.microsoft.com/office/drawing/2014/main" val="3613171440"/>
                      </a:ext>
                    </a:extLst>
                  </a:tr>
                  <a:tr h="223294">
                    <a:tc>
                      <a:txBody>
                        <a:bodyPr/>
                        <a:lstStyle/>
                        <a:p>
                          <a:pPr marL="0" marR="0" algn="l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b="0" dirty="0">
                              <a:effectLst/>
                            </a:rPr>
                            <a:t> </a:t>
                          </a:r>
                          <a:endParaRPr lang="en-US" sz="1400" b="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132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042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101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extLst>
                      <a:ext uri="{0D108BD9-81ED-4DB2-BD59-A6C34878D82A}">
                        <a16:rowId xmlns:a16="http://schemas.microsoft.com/office/drawing/2014/main" val="667264642"/>
                      </a:ext>
                    </a:extLst>
                  </a:tr>
                  <a:tr h="233627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17519" marR="17519" marT="0" marB="0" anchor="ctr">
                        <a:blipFill>
                          <a:blip r:embed="rId3"/>
                          <a:stretch>
                            <a:fillRect l="-446" t="-784615" r="-691964" b="-148205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.264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181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.245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 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extLst>
                      <a:ext uri="{0D108BD9-81ED-4DB2-BD59-A6C34878D82A}">
                        <a16:rowId xmlns:a16="http://schemas.microsoft.com/office/drawing/2014/main" val="805130383"/>
                      </a:ext>
                    </a:extLst>
                  </a:tr>
                  <a:tr h="223294">
                    <a:tc>
                      <a:txBody>
                        <a:bodyPr/>
                        <a:lstStyle/>
                        <a:p>
                          <a:pPr marL="0" marR="0" algn="l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b="0" dirty="0">
                              <a:effectLst/>
                            </a:rPr>
                            <a:t> </a:t>
                          </a:r>
                          <a:endParaRPr lang="en-US" sz="1400" b="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407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031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441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extLst>
                      <a:ext uri="{0D108BD9-81ED-4DB2-BD59-A6C34878D82A}">
                        <a16:rowId xmlns:a16="http://schemas.microsoft.com/office/drawing/2014/main" val="1244311936"/>
                      </a:ext>
                    </a:extLst>
                  </a:tr>
                  <a:tr h="229399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17519" marR="17519" marT="0" marB="0" anchor="ctr">
                        <a:blipFill>
                          <a:blip r:embed="rId3"/>
                          <a:stretch>
                            <a:fillRect l="-446" t="-1002632" r="-691964" b="-132631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 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731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168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0.557***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extLst>
                      <a:ext uri="{0D108BD9-81ED-4DB2-BD59-A6C34878D82A}">
                        <a16:rowId xmlns:a16="http://schemas.microsoft.com/office/drawing/2014/main" val="316861962"/>
                      </a:ext>
                    </a:extLst>
                  </a:tr>
                  <a:tr h="223294">
                    <a:tc>
                      <a:txBody>
                        <a:bodyPr/>
                        <a:lstStyle/>
                        <a:p>
                          <a:pPr marL="0" marR="0" algn="l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b="0" dirty="0">
                              <a:effectLst/>
                            </a:rPr>
                            <a:t> </a:t>
                          </a:r>
                          <a:endParaRPr lang="en-US" sz="1400" b="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 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244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056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202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extLst>
                      <a:ext uri="{0D108BD9-81ED-4DB2-BD59-A6C34878D82A}">
                        <a16:rowId xmlns:a16="http://schemas.microsoft.com/office/drawing/2014/main" val="674827932"/>
                      </a:ext>
                    </a:extLst>
                  </a:tr>
                  <a:tr h="233627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17519" marR="17519" marT="0" marB="0" anchor="ctr">
                        <a:blipFill>
                          <a:blip r:embed="rId3"/>
                          <a:stretch>
                            <a:fillRect l="-446" t="-1200000" r="-691964" b="-112894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0.341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0.008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-0.164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extLst>
                      <a:ext uri="{0D108BD9-81ED-4DB2-BD59-A6C34878D82A}">
                        <a16:rowId xmlns:a16="http://schemas.microsoft.com/office/drawing/2014/main" val="1102858490"/>
                      </a:ext>
                    </a:extLst>
                  </a:tr>
                  <a:tr h="223294">
                    <a:tc>
                      <a:txBody>
                        <a:bodyPr/>
                        <a:lstStyle/>
                        <a:p>
                          <a:pPr marL="0" marR="0" algn="l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b="0" dirty="0">
                              <a:effectLst/>
                            </a:rPr>
                            <a:t> </a:t>
                          </a:r>
                          <a:endParaRPr lang="en-US" sz="1400" b="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 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275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114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(0.242)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extLst>
                      <a:ext uri="{0D108BD9-81ED-4DB2-BD59-A6C34878D82A}">
                        <a16:rowId xmlns:a16="http://schemas.microsoft.com/office/drawing/2014/main" val="3877228342"/>
                      </a:ext>
                    </a:extLst>
                  </a:tr>
                  <a:tr h="233627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17519" marR="17519" marT="0" marB="0" anchor="ctr">
                        <a:blipFill>
                          <a:blip r:embed="rId3"/>
                          <a:stretch>
                            <a:fillRect l="-446" t="-1397368" r="-691964" b="-931579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.119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160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.871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extLst>
                      <a:ext uri="{0D108BD9-81ED-4DB2-BD59-A6C34878D82A}">
                        <a16:rowId xmlns:a16="http://schemas.microsoft.com/office/drawing/2014/main" val="3708789037"/>
                      </a:ext>
                    </a:extLst>
                  </a:tr>
                  <a:tr h="223294">
                    <a:tc>
                      <a:txBody>
                        <a:bodyPr/>
                        <a:lstStyle/>
                        <a:p>
                          <a:pPr marL="0" marR="0" algn="l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b="0" dirty="0">
                              <a:effectLst/>
                            </a:rPr>
                            <a:t> </a:t>
                          </a:r>
                          <a:endParaRPr lang="en-US" sz="1400" b="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 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571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036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(0.591)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extLst>
                      <a:ext uri="{0D108BD9-81ED-4DB2-BD59-A6C34878D82A}">
                        <a16:rowId xmlns:a16="http://schemas.microsoft.com/office/drawing/2014/main" val="175297437"/>
                      </a:ext>
                    </a:extLst>
                  </a:tr>
                  <a:tr h="233627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17519" marR="17519" marT="0" marB="0" anchor="ctr">
                        <a:blipFill>
                          <a:blip r:embed="rId3"/>
                          <a:stretch>
                            <a:fillRect l="-446" t="-1594737" r="-691964" b="-73421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917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176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968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extLst>
                      <a:ext uri="{0D108BD9-81ED-4DB2-BD59-A6C34878D82A}">
                        <a16:rowId xmlns:a16="http://schemas.microsoft.com/office/drawing/2014/main" val="3726573122"/>
                      </a:ext>
                    </a:extLst>
                  </a:tr>
                  <a:tr h="223294">
                    <a:tc>
                      <a:txBody>
                        <a:bodyPr/>
                        <a:lstStyle/>
                        <a:p>
                          <a:pPr marL="0" marR="0" algn="l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b="0" dirty="0">
                              <a:effectLst/>
                            </a:rPr>
                            <a:t> </a:t>
                          </a:r>
                          <a:endParaRPr lang="en-US" sz="1400" b="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 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 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277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030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(0.325)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extLst>
                      <a:ext uri="{0D108BD9-81ED-4DB2-BD59-A6C34878D82A}">
                        <a16:rowId xmlns:a16="http://schemas.microsoft.com/office/drawing/2014/main" val="2263957454"/>
                      </a:ext>
                    </a:extLst>
                  </a:tr>
                  <a:tr h="229399">
                    <a:tc>
                      <a:txBody>
                        <a:bodyPr/>
                        <a:lstStyle/>
                        <a:p>
                          <a:pPr marL="0" marR="0" algn="l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b="0" dirty="0">
                              <a:effectLst/>
                            </a:rPr>
                            <a:t>Constant</a:t>
                          </a:r>
                          <a:endParaRPr lang="en-US" sz="1400" b="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618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062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977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2.256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21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.861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0.84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-0.095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-0.373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extLst>
                      <a:ext uri="{0D108BD9-81ED-4DB2-BD59-A6C34878D82A}">
                        <a16:rowId xmlns:a16="http://schemas.microsoft.com/office/drawing/2014/main" val="358653287"/>
                      </a:ext>
                    </a:extLst>
                  </a:tr>
                  <a:tr h="223294">
                    <a:tc>
                      <a:txBody>
                        <a:bodyPr/>
                        <a:lstStyle/>
                        <a:p>
                          <a:pPr marL="0" marR="0" algn="l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b="0" dirty="0">
                              <a:effectLst/>
                            </a:rPr>
                            <a:t> </a:t>
                          </a:r>
                          <a:endParaRPr lang="en-US" sz="1400" b="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(0.504)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149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203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614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07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517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629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(0.203)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(0.469)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extLst>
                      <a:ext uri="{0D108BD9-81ED-4DB2-BD59-A6C34878D82A}">
                        <a16:rowId xmlns:a16="http://schemas.microsoft.com/office/drawing/2014/main" val="2461749295"/>
                      </a:ext>
                    </a:extLst>
                  </a:tr>
                  <a:tr h="229399">
                    <a:tc>
                      <a:txBody>
                        <a:bodyPr/>
                        <a:lstStyle/>
                        <a:p>
                          <a:pPr marL="0" marR="0" algn="l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b="0" dirty="0">
                              <a:effectLst/>
                            </a:rPr>
                            <a:t>Observations</a:t>
                          </a:r>
                          <a:endParaRPr lang="en-US" sz="1400" b="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584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546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546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584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546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546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584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546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546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extLst>
                      <a:ext uri="{0D108BD9-81ED-4DB2-BD59-A6C34878D82A}">
                        <a16:rowId xmlns:a16="http://schemas.microsoft.com/office/drawing/2014/main" val="2620366658"/>
                      </a:ext>
                    </a:extLst>
                  </a:tr>
                  <a:tr h="235748">
                    <a:tc>
                      <a:txBody>
                        <a:bodyPr/>
                        <a:lstStyle/>
                        <a:p>
                          <a:pPr marL="0" marR="0" algn="l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b="0" dirty="0">
                              <a:effectLst/>
                            </a:rPr>
                            <a:t>No. of countries</a:t>
                          </a:r>
                          <a:endParaRPr lang="en-US" sz="1400" b="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30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0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30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0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0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0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0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30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30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extLst>
                      <a:ext uri="{0D108BD9-81ED-4DB2-BD59-A6C34878D82A}">
                        <a16:rowId xmlns:a16="http://schemas.microsoft.com/office/drawing/2014/main" val="1010625662"/>
                      </a:ext>
                    </a:extLst>
                  </a:tr>
                  <a:tr h="223294">
                    <a:tc>
                      <a:txBody>
                        <a:bodyPr/>
                        <a:lstStyle/>
                        <a:p>
                          <a:pPr marL="0" marR="0" algn="l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b="0" dirty="0">
                              <a:effectLst/>
                            </a:rPr>
                            <a:t>R</a:t>
                          </a:r>
                          <a:r>
                            <a:rPr lang="en-US" sz="1400" b="0" baseline="30000" dirty="0">
                              <a:effectLst/>
                            </a:rPr>
                            <a:t>2</a:t>
                          </a:r>
                          <a:endParaRPr lang="en-US" sz="1400" b="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0.333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247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32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396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25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41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432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268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0.436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extLst>
                      <a:ext uri="{0D108BD9-81ED-4DB2-BD59-A6C34878D82A}">
                        <a16:rowId xmlns:a16="http://schemas.microsoft.com/office/drawing/2014/main" val="2029498262"/>
                      </a:ext>
                    </a:extLst>
                  </a:tr>
                  <a:tr h="229399">
                    <a:tc>
                      <a:txBody>
                        <a:bodyPr/>
                        <a:lstStyle/>
                        <a:p>
                          <a:pPr marL="0" marR="0" algn="l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b="0" dirty="0">
                              <a:effectLst/>
                            </a:rPr>
                            <a:t>Wald test</a:t>
                          </a:r>
                          <a:endParaRPr lang="en-US" sz="1400" b="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0.07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0.03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8.43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8.31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.49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.76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6.34***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>
                              <a:effectLst/>
                            </a:rPr>
                            <a:t>1.24</a:t>
                          </a:r>
                          <a:endParaRPr lang="en-US" sz="140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tc>
                      <a:txBody>
                        <a:bodyPr/>
                        <a:lstStyle/>
                        <a:p>
                          <a:pPr marL="0" marR="0">
                            <a:lnSpc>
                              <a:spcPct val="107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400" dirty="0">
                              <a:effectLst/>
                            </a:rPr>
                            <a:t>7.17***</a:t>
                          </a:r>
                          <a:endParaRPr lang="en-US" sz="1400" dirty="0">
                            <a:effectLst/>
                            <a:latin typeface="Calibri" panose="020F0502020204030204" pitchFamily="34" charset="0"/>
                            <a:ea typeface="Calibri" panose="020F0502020204030204" pitchFamily="34" charset="0"/>
                            <a:cs typeface="Arial" panose="020B0604020202020204" pitchFamily="34" charset="0"/>
                          </a:endParaRPr>
                        </a:p>
                      </a:txBody>
                      <a:tcPr marL="17519" marR="17519" marT="0" marB="0" anchor="ctr"/>
                    </a:tc>
                    <a:extLst>
                      <a:ext uri="{0D108BD9-81ED-4DB2-BD59-A6C34878D82A}">
                        <a16:rowId xmlns:a16="http://schemas.microsoft.com/office/drawing/2014/main" val="2152281214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9" name="TextBox 8">
            <a:extLst>
              <a:ext uri="{FF2B5EF4-FFF2-40B4-BE49-F238E27FC236}">
                <a16:creationId xmlns:a16="http://schemas.microsoft.com/office/drawing/2014/main" id="{7884FE3B-B0C0-DC03-EE69-83B0DC4F2521}"/>
              </a:ext>
            </a:extLst>
          </p:cNvPr>
          <p:cNvSpPr txBox="1"/>
          <p:nvPr/>
        </p:nvSpPr>
        <p:spPr>
          <a:xfrm>
            <a:off x="11813997" y="6532801"/>
            <a:ext cx="288585" cy="26668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fld id="{EFF4D7D2-636D-40D9-93B6-0CBAC255A5A5}" type="slidenum">
              <a:rPr lang="en-US" sz="1200" smtClean="0"/>
              <a:t>7</a:t>
            </a:fld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4022723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24D14845-AD08-5DDE-650B-51B06EF26803}"/>
              </a:ext>
            </a:extLst>
          </p:cNvPr>
          <p:cNvSpPr/>
          <p:nvPr/>
        </p:nvSpPr>
        <p:spPr>
          <a:xfrm>
            <a:off x="1143000" y="1289304"/>
            <a:ext cx="11942064" cy="4242801"/>
          </a:xfrm>
          <a:prstGeom prst="rect">
            <a:avLst/>
          </a:prstGeom>
          <a:solidFill>
            <a:schemeClr val="tx2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5" name="object 2">
            <a:extLst>
              <a:ext uri="{FF2B5EF4-FFF2-40B4-BE49-F238E27FC236}">
                <a16:creationId xmlns:a16="http://schemas.microsoft.com/office/drawing/2014/main" id="{316B8079-4A76-825B-BA7C-2BAA5881359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23342" y="223718"/>
            <a:ext cx="7943141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2800" spc="20" dirty="0">
                <a:solidFill>
                  <a:schemeClr val="accent1"/>
                </a:solidFill>
              </a:rPr>
              <a:t>Insights from the model asymmetri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51FD9DA-198E-9CB2-345D-951617A3D39E}"/>
              </a:ext>
            </a:extLst>
          </p:cNvPr>
          <p:cNvCxnSpPr/>
          <p:nvPr/>
        </p:nvCxnSpPr>
        <p:spPr>
          <a:xfrm>
            <a:off x="526473" y="804589"/>
            <a:ext cx="3472872" cy="0"/>
          </a:xfrm>
          <a:prstGeom prst="line">
            <a:avLst/>
          </a:prstGeom>
          <a:ln w="19050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EEA86CB8-ECC5-5EE8-6C41-C54B15FFBF6C}"/>
              </a:ext>
            </a:extLst>
          </p:cNvPr>
          <p:cNvSpPr txBox="1"/>
          <p:nvPr/>
        </p:nvSpPr>
        <p:spPr>
          <a:xfrm>
            <a:off x="11813997" y="6532801"/>
            <a:ext cx="288585" cy="26668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fld id="{EFF4D7D2-636D-40D9-93B6-0CBAC255A5A5}" type="slidenum">
              <a:rPr lang="en-US" sz="1200" smtClean="0"/>
              <a:t>8</a:t>
            </a:fld>
            <a:endParaRPr lang="en-US" sz="12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021E2D1-1B6C-2AA8-844C-6C3F6AB4F7FE}"/>
              </a:ext>
            </a:extLst>
          </p:cNvPr>
          <p:cNvSpPr txBox="1"/>
          <p:nvPr/>
        </p:nvSpPr>
        <p:spPr>
          <a:xfrm>
            <a:off x="752094" y="1584790"/>
            <a:ext cx="10623042" cy="400110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2000" dirty="0">
                <a:latin typeface="Cambria" panose="02040503050406030204" pitchFamily="18" charset="0"/>
                <a:ea typeface="Cambria" panose="02040503050406030204" pitchFamily="18" charset="0"/>
              </a:rPr>
              <a:t>Significant asymmetries in expenditure respons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3BCAF03-6B31-F9C8-ECA9-3BA4D4296FCB}"/>
              </a:ext>
            </a:extLst>
          </p:cNvPr>
          <p:cNvSpPr txBox="1"/>
          <p:nvPr/>
        </p:nvSpPr>
        <p:spPr>
          <a:xfrm>
            <a:off x="752094" y="2141356"/>
            <a:ext cx="10623042" cy="1015663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2000" dirty="0">
                <a:latin typeface="Cambria" panose="02040503050406030204" pitchFamily="18" charset="0"/>
                <a:ea typeface="Cambria" panose="02040503050406030204" pitchFamily="18" charset="0"/>
              </a:rPr>
              <a:t>Position asymmetry is more pronounced than variation asymmetry</a:t>
            </a:r>
          </a:p>
          <a:p>
            <a:pPr marL="342900" indent="-342900">
              <a:buClr>
                <a:srgbClr val="5D9E54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latin typeface="Cambria" panose="02040503050406030204" pitchFamily="18" charset="0"/>
                <a:ea typeface="Cambria" panose="02040503050406030204" pitchFamily="18" charset="0"/>
              </a:rPr>
              <a:t>In low revenue regimes, the pass-through to total and current expenditure is about three times higher than during high revenue regim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1D83D81-CFA7-F6AE-EFBC-D61261636546}"/>
              </a:ext>
            </a:extLst>
          </p:cNvPr>
          <p:cNvSpPr txBox="1"/>
          <p:nvPr/>
        </p:nvSpPr>
        <p:spPr>
          <a:xfrm>
            <a:off x="752094" y="3313476"/>
            <a:ext cx="10623042" cy="1015663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2000" dirty="0">
                <a:latin typeface="Cambria" panose="02040503050406030204" pitchFamily="18" charset="0"/>
                <a:ea typeface="Cambria" panose="02040503050406030204" pitchFamily="18" charset="0"/>
              </a:rPr>
              <a:t>When revenues are above the trend but go down (ugly times), the fiscal policy is neutral </a:t>
            </a:r>
          </a:p>
          <a:p>
            <a:pPr marL="342900" indent="-342900">
              <a:buClr>
                <a:srgbClr val="5D9E54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latin typeface="Cambria" panose="02040503050406030204" pitchFamily="18" charset="0"/>
                <a:ea typeface="Cambria" panose="02040503050406030204" pitchFamily="18" charset="0"/>
              </a:rPr>
              <a:t>Suggesting that there is a belief that the revenue will recover</a:t>
            </a:r>
          </a:p>
          <a:p>
            <a:pPr marL="342900" indent="-342900">
              <a:buClr>
                <a:srgbClr val="5D9E54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latin typeface="Cambria" panose="02040503050406030204" pitchFamily="18" charset="0"/>
                <a:ea typeface="Cambria" panose="02040503050406030204" pitchFamily="18" charset="0"/>
              </a:rPr>
              <a:t>Inertia in spending, fiscal buffe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CBA8CAF-1463-B316-66D2-7B320E7E1B76}"/>
              </a:ext>
            </a:extLst>
          </p:cNvPr>
          <p:cNvSpPr txBox="1"/>
          <p:nvPr/>
        </p:nvSpPr>
        <p:spPr>
          <a:xfrm>
            <a:off x="752094" y="4485596"/>
            <a:ext cx="10623042" cy="707886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2000" dirty="0">
                <a:latin typeface="Cambria" panose="02040503050406030204" pitchFamily="18" charset="0"/>
                <a:ea typeface="Cambria" panose="02040503050406030204" pitchFamily="18" charset="0"/>
              </a:rPr>
              <a:t>High procyclicality during bad times </a:t>
            </a:r>
          </a:p>
          <a:p>
            <a:pPr marL="342900" indent="-342900">
              <a:buClr>
                <a:srgbClr val="5D9E54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latin typeface="Cambria" panose="02040503050406030204" pitchFamily="18" charset="0"/>
                <a:ea typeface="Cambria" panose="02040503050406030204" pitchFamily="18" charset="0"/>
              </a:rPr>
              <a:t>Fiscal balance in a bad position, leaving less room to buffer further price drops</a:t>
            </a:r>
          </a:p>
        </p:txBody>
      </p:sp>
    </p:spTree>
    <p:extLst>
      <p:ext uri="{BB962C8B-B14F-4D97-AF65-F5344CB8AC3E}">
        <p14:creationId xmlns:p14="http://schemas.microsoft.com/office/powerpoint/2010/main" val="17601337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9" grpId="0" animBg="1"/>
      <p:bldP spid="11" grpId="0" animBg="1"/>
      <p:bldP spid="13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316B8079-4A76-825B-BA7C-2BAA5881359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23342" y="223718"/>
            <a:ext cx="11568658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2800" spc="20" dirty="0">
                <a:solidFill>
                  <a:schemeClr val="accent1"/>
                </a:solidFill>
              </a:rPr>
              <a:t>Takeaways from interacting asymmetries and explanatory variab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51FD9DA-198E-9CB2-345D-951617A3D39E}"/>
              </a:ext>
            </a:extLst>
          </p:cNvPr>
          <p:cNvCxnSpPr/>
          <p:nvPr/>
        </p:nvCxnSpPr>
        <p:spPr>
          <a:xfrm>
            <a:off x="526473" y="804589"/>
            <a:ext cx="3472872" cy="0"/>
          </a:xfrm>
          <a:prstGeom prst="line">
            <a:avLst/>
          </a:prstGeom>
          <a:ln w="19050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D757C645-B02C-93FE-C9E3-090CCCF7C6AD}"/>
              </a:ext>
            </a:extLst>
          </p:cNvPr>
          <p:cNvSpPr txBox="1"/>
          <p:nvPr/>
        </p:nvSpPr>
        <p:spPr>
          <a:xfrm>
            <a:off x="11813997" y="6532801"/>
            <a:ext cx="288585" cy="26668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fld id="{EFF4D7D2-636D-40D9-93B6-0CBAC255A5A5}" type="slidenum">
              <a:rPr lang="en-US" sz="1200" smtClean="0"/>
              <a:t>9</a:t>
            </a:fld>
            <a:endParaRPr lang="en-US" sz="1200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1C3FC1A-C4DD-8D28-4340-77219C6F3C5A}"/>
              </a:ext>
            </a:extLst>
          </p:cNvPr>
          <p:cNvGrpSpPr/>
          <p:nvPr/>
        </p:nvGrpSpPr>
        <p:grpSpPr>
          <a:xfrm>
            <a:off x="1352769" y="850391"/>
            <a:ext cx="8788468" cy="1292664"/>
            <a:chOff x="1352769" y="850391"/>
            <a:chExt cx="8788468" cy="1292664"/>
          </a:xfrm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D4C5FCEC-7D43-29FE-BD4B-B1614A725CEF}"/>
                </a:ext>
              </a:extLst>
            </p:cNvPr>
            <p:cNvSpPr/>
            <p:nvPr/>
          </p:nvSpPr>
          <p:spPr>
            <a:xfrm rot="21600000">
              <a:off x="1999100" y="850391"/>
              <a:ext cx="8142137" cy="1292664"/>
            </a:xfrm>
            <a:custGeom>
              <a:avLst/>
              <a:gdLst>
                <a:gd name="connsiteX0" fmla="*/ 0 w 8142137"/>
                <a:gd name="connsiteY0" fmla="*/ 0 h 1292662"/>
                <a:gd name="connsiteX1" fmla="*/ 7495806 w 8142137"/>
                <a:gd name="connsiteY1" fmla="*/ 0 h 1292662"/>
                <a:gd name="connsiteX2" fmla="*/ 8142137 w 8142137"/>
                <a:gd name="connsiteY2" fmla="*/ 646331 h 1292662"/>
                <a:gd name="connsiteX3" fmla="*/ 7495806 w 8142137"/>
                <a:gd name="connsiteY3" fmla="*/ 1292662 h 1292662"/>
                <a:gd name="connsiteX4" fmla="*/ 0 w 8142137"/>
                <a:gd name="connsiteY4" fmla="*/ 1292662 h 1292662"/>
                <a:gd name="connsiteX5" fmla="*/ 0 w 8142137"/>
                <a:gd name="connsiteY5" fmla="*/ 0 h 1292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42137" h="1292662">
                  <a:moveTo>
                    <a:pt x="8142137" y="1292661"/>
                  </a:moveTo>
                  <a:lnTo>
                    <a:pt x="646331" y="1292661"/>
                  </a:lnTo>
                  <a:lnTo>
                    <a:pt x="0" y="646331"/>
                  </a:lnTo>
                  <a:lnTo>
                    <a:pt x="646331" y="1"/>
                  </a:lnTo>
                  <a:lnTo>
                    <a:pt x="8142137" y="1"/>
                  </a:lnTo>
                  <a:lnTo>
                    <a:pt x="8142137" y="1292661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893193" tIns="95251" rIns="177800" bIns="95251" numCol="1" spcCol="1270" anchor="t" anchorCtr="0">
              <a:noAutofit/>
            </a:bodyPr>
            <a:lstStyle/>
            <a:p>
              <a:pPr marL="0" lvl="0" indent="0" algn="l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400" kern="1200" dirty="0">
                  <a:latin typeface="Cambria" panose="02040503050406030204" pitchFamily="18" charset="0"/>
                  <a:ea typeface="Cambria" panose="02040503050406030204" pitchFamily="18" charset="0"/>
                </a:rPr>
                <a:t>Financial openness </a:t>
              </a:r>
            </a:p>
            <a:p>
              <a:pPr marL="228600" lvl="1" indent="-228600" algn="l" defTabSz="8890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kern="1200" dirty="0">
                  <a:latin typeface="Cambria" panose="02040503050406030204" pitchFamily="18" charset="0"/>
                  <a:ea typeface="Cambria" panose="02040503050406030204" pitchFamily="18" charset="0"/>
                </a:rPr>
                <a:t>Financial integration leads to more investment during good times</a:t>
              </a:r>
            </a:p>
            <a:p>
              <a:pPr marL="228600" lvl="1" indent="-228600" algn="l" defTabSz="8890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kern="1200" dirty="0">
                  <a:latin typeface="Cambria" panose="02040503050406030204" pitchFamily="18" charset="0"/>
                  <a:ea typeface="Cambria" panose="02040503050406030204" pitchFamily="18" charset="0"/>
                </a:rPr>
                <a:t>But mitigates the drop in investment during bad times</a:t>
              </a:r>
            </a:p>
          </p:txBody>
        </p:sp>
        <p:sp>
          <p:nvSpPr>
            <p:cNvPr id="4" name="Oval 3" descr="Stock numbers on a digital display">
              <a:extLst>
                <a:ext uri="{FF2B5EF4-FFF2-40B4-BE49-F238E27FC236}">
                  <a16:creationId xmlns:a16="http://schemas.microsoft.com/office/drawing/2014/main" id="{40164494-CD16-DE24-09AE-A4082AD68A7A}"/>
                </a:ext>
              </a:extLst>
            </p:cNvPr>
            <p:cNvSpPr/>
            <p:nvPr/>
          </p:nvSpPr>
          <p:spPr>
            <a:xfrm>
              <a:off x="1352769" y="850392"/>
              <a:ext cx="1292662" cy="1292662"/>
            </a:xfrm>
            <a:prstGeom prst="ellipse">
              <a:avLst/>
            </a:prstGeom>
            <a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 l="-36000" r="-36000"/>
              </a:stretch>
            </a:blip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AAD804B7-4174-511B-6A16-AE0E085477E6}"/>
              </a:ext>
            </a:extLst>
          </p:cNvPr>
          <p:cNvGrpSpPr/>
          <p:nvPr/>
        </p:nvGrpSpPr>
        <p:grpSpPr>
          <a:xfrm>
            <a:off x="1319051" y="2182057"/>
            <a:ext cx="8822706" cy="1292664"/>
            <a:chOff x="1319051" y="2182057"/>
            <a:chExt cx="8822706" cy="1292664"/>
          </a:xfrm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4588C476-69E7-162A-6820-8B1F4223B144}"/>
                </a:ext>
              </a:extLst>
            </p:cNvPr>
            <p:cNvSpPr/>
            <p:nvPr/>
          </p:nvSpPr>
          <p:spPr>
            <a:xfrm rot="21600000">
              <a:off x="1965382" y="2182057"/>
              <a:ext cx="8176375" cy="1292664"/>
            </a:xfrm>
            <a:custGeom>
              <a:avLst/>
              <a:gdLst>
                <a:gd name="connsiteX0" fmla="*/ 0 w 8176375"/>
                <a:gd name="connsiteY0" fmla="*/ 0 h 1292662"/>
                <a:gd name="connsiteX1" fmla="*/ 7530044 w 8176375"/>
                <a:gd name="connsiteY1" fmla="*/ 0 h 1292662"/>
                <a:gd name="connsiteX2" fmla="*/ 8176375 w 8176375"/>
                <a:gd name="connsiteY2" fmla="*/ 646331 h 1292662"/>
                <a:gd name="connsiteX3" fmla="*/ 7530044 w 8176375"/>
                <a:gd name="connsiteY3" fmla="*/ 1292662 h 1292662"/>
                <a:gd name="connsiteX4" fmla="*/ 0 w 8176375"/>
                <a:gd name="connsiteY4" fmla="*/ 1292662 h 1292662"/>
                <a:gd name="connsiteX5" fmla="*/ 0 w 8176375"/>
                <a:gd name="connsiteY5" fmla="*/ 0 h 1292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76375" h="1292662">
                  <a:moveTo>
                    <a:pt x="8176375" y="1292661"/>
                  </a:moveTo>
                  <a:lnTo>
                    <a:pt x="646331" y="1292661"/>
                  </a:lnTo>
                  <a:lnTo>
                    <a:pt x="0" y="646331"/>
                  </a:lnTo>
                  <a:lnTo>
                    <a:pt x="646331" y="1"/>
                  </a:lnTo>
                  <a:lnTo>
                    <a:pt x="8176375" y="1"/>
                  </a:lnTo>
                  <a:lnTo>
                    <a:pt x="8176375" y="1292661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893193" tIns="80011" rIns="149352" bIns="80011" numCol="1" spcCol="1270" anchor="t" anchorCtr="0">
              <a:noAutofit/>
            </a:bodyPr>
            <a:lstStyle/>
            <a:p>
              <a:pPr marL="0" lvl="0" indent="0" algn="l" defTabSz="9334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400" kern="1200" dirty="0">
                  <a:latin typeface="Cambria" panose="02040503050406030204" pitchFamily="18" charset="0"/>
                  <a:ea typeface="Cambria" panose="02040503050406030204" pitchFamily="18" charset="0"/>
                </a:rPr>
                <a:t>Institutional quality</a:t>
              </a:r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kern="1200" dirty="0">
                  <a:latin typeface="Cambria" panose="02040503050406030204" pitchFamily="18" charset="0"/>
                  <a:ea typeface="Cambria" panose="02040503050406030204" pitchFamily="18" charset="0"/>
                </a:rPr>
                <a:t>Limits the increase in expenditure (in ugly times with low but increasing prices)</a:t>
              </a:r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kern="1200" dirty="0">
                  <a:latin typeface="Cambria" panose="02040503050406030204" pitchFamily="18" charset="0"/>
                  <a:ea typeface="Cambria" panose="02040503050406030204" pitchFamily="18" charset="0"/>
                </a:rPr>
                <a:t>Reduces expenditure (in ugly times with high but decreasing prices)</a:t>
              </a:r>
            </a:p>
          </p:txBody>
        </p:sp>
        <p:sp>
          <p:nvSpPr>
            <p:cNvPr id="10" name="Oval 9" descr="Columns outside supreme court building">
              <a:extLst>
                <a:ext uri="{FF2B5EF4-FFF2-40B4-BE49-F238E27FC236}">
                  <a16:creationId xmlns:a16="http://schemas.microsoft.com/office/drawing/2014/main" id="{E03246C7-DCFF-2989-E7F3-B729E198CAE1}"/>
                </a:ext>
              </a:extLst>
            </p:cNvPr>
            <p:cNvSpPr/>
            <p:nvPr/>
          </p:nvSpPr>
          <p:spPr>
            <a:xfrm>
              <a:off x="1319051" y="2182058"/>
              <a:ext cx="1292662" cy="1292662"/>
            </a:xfrm>
            <a:prstGeom prst="ellipse">
              <a:avLst/>
            </a:prstGeom>
            <a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 l="-25000" r="-25000"/>
              </a:stretch>
            </a:blip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/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5576A78-D8E2-102E-07BB-E72B7FD44840}"/>
              </a:ext>
            </a:extLst>
          </p:cNvPr>
          <p:cNvGrpSpPr/>
          <p:nvPr/>
        </p:nvGrpSpPr>
        <p:grpSpPr>
          <a:xfrm>
            <a:off x="1360490" y="3522867"/>
            <a:ext cx="8767692" cy="1292664"/>
            <a:chOff x="1360490" y="3522867"/>
            <a:chExt cx="8767692" cy="1292664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060C8DB2-EB9A-A018-AB8F-D273139EEF23}"/>
                </a:ext>
              </a:extLst>
            </p:cNvPr>
            <p:cNvSpPr/>
            <p:nvPr/>
          </p:nvSpPr>
          <p:spPr>
            <a:xfrm rot="21600000">
              <a:off x="2006821" y="3522867"/>
              <a:ext cx="8121361" cy="1292664"/>
            </a:xfrm>
            <a:custGeom>
              <a:avLst/>
              <a:gdLst>
                <a:gd name="connsiteX0" fmla="*/ 0 w 8121361"/>
                <a:gd name="connsiteY0" fmla="*/ 0 h 1292662"/>
                <a:gd name="connsiteX1" fmla="*/ 7475030 w 8121361"/>
                <a:gd name="connsiteY1" fmla="*/ 0 h 1292662"/>
                <a:gd name="connsiteX2" fmla="*/ 8121361 w 8121361"/>
                <a:gd name="connsiteY2" fmla="*/ 646331 h 1292662"/>
                <a:gd name="connsiteX3" fmla="*/ 7475030 w 8121361"/>
                <a:gd name="connsiteY3" fmla="*/ 1292662 h 1292662"/>
                <a:gd name="connsiteX4" fmla="*/ 0 w 8121361"/>
                <a:gd name="connsiteY4" fmla="*/ 1292662 h 1292662"/>
                <a:gd name="connsiteX5" fmla="*/ 0 w 8121361"/>
                <a:gd name="connsiteY5" fmla="*/ 0 h 1292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21361" h="1292662">
                  <a:moveTo>
                    <a:pt x="8121361" y="1292661"/>
                  </a:moveTo>
                  <a:lnTo>
                    <a:pt x="646331" y="1292661"/>
                  </a:lnTo>
                  <a:lnTo>
                    <a:pt x="0" y="646331"/>
                  </a:lnTo>
                  <a:lnTo>
                    <a:pt x="646331" y="1"/>
                  </a:lnTo>
                  <a:lnTo>
                    <a:pt x="8121361" y="1"/>
                  </a:lnTo>
                  <a:lnTo>
                    <a:pt x="8121361" y="1292661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893193" tIns="118111" rIns="220472" bIns="118111" numCol="1" spcCol="1270" anchor="t" anchorCtr="0">
              <a:noAutofit/>
            </a:bodyPr>
            <a:lstStyle/>
            <a:p>
              <a:pPr marL="0" lvl="0" indent="0" algn="l" defTabSz="1377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400" kern="1200" dirty="0">
                  <a:latin typeface="Cambria" panose="02040503050406030204" pitchFamily="18" charset="0"/>
                  <a:ea typeface="Cambria" panose="02040503050406030204" pitchFamily="18" charset="0"/>
                </a:rPr>
                <a:t>Fiscal rules</a:t>
              </a:r>
            </a:p>
            <a:p>
              <a:pPr marL="228600" lvl="1" indent="-228600" algn="l" defTabSz="10668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kern="1200" dirty="0">
                  <a:latin typeface="Cambria" panose="02040503050406030204" pitchFamily="18" charset="0"/>
                  <a:ea typeface="Cambria" panose="02040503050406030204" pitchFamily="18" charset="0"/>
                </a:rPr>
                <a:t>Reduce procyclicality during good times and bad times</a:t>
              </a: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CD612E70-05AF-0D8F-9DDE-02295CF94682}"/>
                </a:ext>
              </a:extLst>
            </p:cNvPr>
            <p:cNvSpPr/>
            <p:nvPr/>
          </p:nvSpPr>
          <p:spPr>
            <a:xfrm>
              <a:off x="1360490" y="3522868"/>
              <a:ext cx="1292662" cy="1292662"/>
            </a:xfrm>
            <a:prstGeom prst="ellipse">
              <a:avLst/>
            </a:prstGeom>
            <a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 l="-25000" r="-25000"/>
              </a:stretch>
            </a:blip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C82D641-6FCF-8C09-6977-E44279795552}"/>
              </a:ext>
            </a:extLst>
          </p:cNvPr>
          <p:cNvGrpSpPr/>
          <p:nvPr/>
        </p:nvGrpSpPr>
        <p:grpSpPr>
          <a:xfrm>
            <a:off x="1360593" y="4875249"/>
            <a:ext cx="8768906" cy="1295091"/>
            <a:chOff x="1360593" y="4875249"/>
            <a:chExt cx="8768906" cy="1295091"/>
          </a:xfrm>
        </p:grpSpPr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3A5BD36-F06E-37B8-6A6D-EBBD69259755}"/>
                </a:ext>
              </a:extLst>
            </p:cNvPr>
            <p:cNvSpPr/>
            <p:nvPr/>
          </p:nvSpPr>
          <p:spPr>
            <a:xfrm rot="21600000">
              <a:off x="2008138" y="4875249"/>
              <a:ext cx="8121361" cy="1295091"/>
            </a:xfrm>
            <a:custGeom>
              <a:avLst/>
              <a:gdLst>
                <a:gd name="connsiteX0" fmla="*/ 0 w 8121361"/>
                <a:gd name="connsiteY0" fmla="*/ 0 h 1295089"/>
                <a:gd name="connsiteX1" fmla="*/ 7473817 w 8121361"/>
                <a:gd name="connsiteY1" fmla="*/ 0 h 1295089"/>
                <a:gd name="connsiteX2" fmla="*/ 8121361 w 8121361"/>
                <a:gd name="connsiteY2" fmla="*/ 647545 h 1295089"/>
                <a:gd name="connsiteX3" fmla="*/ 7473817 w 8121361"/>
                <a:gd name="connsiteY3" fmla="*/ 1295089 h 1295089"/>
                <a:gd name="connsiteX4" fmla="*/ 0 w 8121361"/>
                <a:gd name="connsiteY4" fmla="*/ 1295089 h 1295089"/>
                <a:gd name="connsiteX5" fmla="*/ 0 w 8121361"/>
                <a:gd name="connsiteY5" fmla="*/ 0 h 1295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21361" h="1295089">
                  <a:moveTo>
                    <a:pt x="8121361" y="1295088"/>
                  </a:moveTo>
                  <a:lnTo>
                    <a:pt x="647544" y="1295088"/>
                  </a:lnTo>
                  <a:lnTo>
                    <a:pt x="0" y="647544"/>
                  </a:lnTo>
                  <a:lnTo>
                    <a:pt x="647544" y="1"/>
                  </a:lnTo>
                  <a:lnTo>
                    <a:pt x="8121361" y="1"/>
                  </a:lnTo>
                  <a:lnTo>
                    <a:pt x="8121361" y="1295088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894871" tIns="99061" rIns="184912" bIns="99061" numCol="1" spcCol="1270" anchor="t" anchorCtr="0">
              <a:noAutofit/>
            </a:bodyPr>
            <a:lstStyle/>
            <a:p>
              <a:pPr marL="0" lvl="0" indent="0" algn="l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400" kern="1200" dirty="0">
                  <a:latin typeface="Cambria" panose="02040503050406030204" pitchFamily="18" charset="0"/>
                  <a:ea typeface="Cambria" panose="02040503050406030204" pitchFamily="18" charset="0"/>
                </a:rPr>
                <a:t>IMF programs</a:t>
              </a:r>
            </a:p>
            <a:p>
              <a:pPr marL="228600" lvl="1" indent="-228600" algn="l" defTabSz="8890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kern="1200" dirty="0">
                  <a:latin typeface="Cambria" panose="02040503050406030204" pitchFamily="18" charset="0"/>
                  <a:ea typeface="Cambria" panose="02040503050406030204" pitchFamily="18" charset="0"/>
                </a:rPr>
                <a:t>Countercyclical in ugly times during low revenue regimes and procyclical during bad times</a:t>
              </a: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A0191367-A7DD-CF71-769E-D5AEC64A83A9}"/>
                </a:ext>
              </a:extLst>
            </p:cNvPr>
            <p:cNvSpPr/>
            <p:nvPr/>
          </p:nvSpPr>
          <p:spPr>
            <a:xfrm>
              <a:off x="1360593" y="4875250"/>
              <a:ext cx="1295089" cy="1295089"/>
            </a:xfrm>
            <a:prstGeom prst="ellipse">
              <a:avLst/>
            </a:prstGeom>
            <a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 t="-1000" b="-1000"/>
              </a:stretch>
            </a:blip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772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YLYSbLzP8DsqQ5_IDvM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i586bxaRXNGLyq6cjU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DxEIFDMpZ7XFucXEwc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pk7TYHRxaIHe6.SUx9j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0evTD9FXplcSqw.av8M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4BZlnvKEO9ZCIa9.28.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HDEXJXmQoSsPa_AIGQP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S4IYDLSNCJ9WktW7ZdX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CzETsZQISC1z5UIOZSn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HDEXJXmQoSsPa_AIGQP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HDEXJXmQoSsPa_AIGQPg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HDEXJXmQoSsPa_AIGQP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HDEXJXmQoSsPa_AIGQPg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HDEXJXmQoSsPa_AIGQPg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HDEXJXmQoSsPa_AIGQPg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HDEXJXmQoSsPa_AIGQPg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TitleWhite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r8WAgv0cG5g7IkN2Knt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TitleWhite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r8WAgv0cG5g7IkN2Kntg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heme/theme1.xml><?xml version="1.0" encoding="utf-8"?>
<a:theme xmlns:a="http://schemas.openxmlformats.org/drawingml/2006/main" name="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3F6B39"/>
      </a:accent1>
      <a:accent2>
        <a:srgbClr val="5D9E54"/>
      </a:accent2>
      <a:accent3>
        <a:srgbClr val="8AC58F"/>
      </a:accent3>
      <a:accent4>
        <a:srgbClr val="CAE4CB"/>
      </a:accent4>
      <a:accent5>
        <a:srgbClr val="C6BC49"/>
      </a:accent5>
      <a:accent6>
        <a:srgbClr val="969696"/>
      </a:accent6>
      <a:hlink>
        <a:srgbClr val="0000FF"/>
      </a:hlink>
      <a:folHlink>
        <a:srgbClr val="800080"/>
      </a:folHlink>
    </a:clrScheme>
    <a:fontScheme name="Custom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3F6B39"/>
        </a:accent1>
        <a:accent2>
          <a:srgbClr val="5D9E54"/>
        </a:accent2>
        <a:accent3>
          <a:srgbClr val="8AC58F"/>
        </a:accent3>
        <a:accent4>
          <a:srgbClr val="CAE4CB"/>
        </a:accent4>
        <a:accent5>
          <a:srgbClr val="C6BC49"/>
        </a:accent5>
        <a:accent6>
          <a:srgbClr val="969696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RY1628_OFF_v1.potx" id="{72187260-95FD-4CE8-B8EE-C4743EBB8797}" vid="{ECA36BBF-46F1-437D-BC7D-FF27FBA65BB5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ontrast">
  <a:themeElements>
    <a:clrScheme name="Scheme2">
      <a:dk1>
        <a:srgbClr val="FFFFFF"/>
      </a:dk1>
      <a:lt1>
        <a:srgbClr val="396234"/>
      </a:lt1>
      <a:dk2>
        <a:srgbClr val="000000"/>
      </a:dk2>
      <a:lt2>
        <a:srgbClr val="000000"/>
      </a:lt2>
      <a:accent1>
        <a:srgbClr val="FFFFFF"/>
      </a:accent1>
      <a:accent2>
        <a:srgbClr val="5D9E54"/>
      </a:accent2>
      <a:accent3>
        <a:srgbClr val="8AC58F"/>
      </a:accent3>
      <a:accent4>
        <a:srgbClr val="CAE4CB"/>
      </a:accent4>
      <a:accent5>
        <a:srgbClr val="C6BC49"/>
      </a:accent5>
      <a:accent6>
        <a:srgbClr val="969696"/>
      </a:accent6>
      <a:hlink>
        <a:srgbClr val="0000FF"/>
      </a:hlink>
      <a:folHlink>
        <a:srgbClr val="800080"/>
      </a:folHlink>
    </a:clrScheme>
    <a:fontScheme name="Custom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2">
        <a:dk1>
          <a:srgbClr val="FFFFFF"/>
        </a:dk1>
        <a:lt1>
          <a:srgbClr val="396234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5D9E54"/>
        </a:accent2>
        <a:accent3>
          <a:srgbClr val="8AC58F"/>
        </a:accent3>
        <a:accent4>
          <a:srgbClr val="CAE4CB"/>
        </a:accent4>
        <a:accent5>
          <a:srgbClr val="C6BC49"/>
        </a:accent5>
        <a:accent6>
          <a:srgbClr val="969696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RY1628_OFF_v1.potx" id="{72187260-95FD-4CE8-B8EE-C4743EBB8797}" vid="{40A4B5F1-1EBA-42FC-BE01-03080863F442}"/>
    </a:ext>
  </a:extLst>
</a:theme>
</file>

<file path=ppt/theme/theme3.xml><?xml version="1.0" encoding="utf-8"?>
<a:theme xmlns:a="http://schemas.openxmlformats.org/drawingml/2006/main" name="1_KAPRC_CF 16x9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DBDBDB"/>
      </a:lt2>
      <a:accent1>
        <a:srgbClr val="CAE4CB"/>
      </a:accent1>
      <a:accent2>
        <a:srgbClr val="8AC58F"/>
      </a:accent2>
      <a:accent3>
        <a:srgbClr val="5D9E54"/>
      </a:accent3>
      <a:accent4>
        <a:srgbClr val="3F6B39"/>
      </a:accent4>
      <a:accent5>
        <a:srgbClr val="FFD100"/>
      </a:accent5>
      <a:accent6>
        <a:srgbClr val="808080"/>
      </a:accent6>
      <a:hlink>
        <a:srgbClr val="5D9E54"/>
      </a:hlink>
      <a:folHlink>
        <a:srgbClr val="3F6B39"/>
      </a:folHlink>
    </a:clrScheme>
    <a:fontScheme name="Custom 27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DBDBDB"/>
        </a:lt2>
        <a:accent1>
          <a:srgbClr val="CAE4CB"/>
        </a:accent1>
        <a:accent2>
          <a:srgbClr val="8AC58F"/>
        </a:accent2>
        <a:accent3>
          <a:srgbClr val="5D9E54"/>
        </a:accent3>
        <a:accent4>
          <a:srgbClr val="3F6B39"/>
        </a:accent4>
        <a:accent5>
          <a:srgbClr val="FFD100"/>
        </a:accent5>
        <a:accent6>
          <a:srgbClr val="808080"/>
        </a:accent6>
        <a:hlink>
          <a:srgbClr val="5D9E54"/>
        </a:hlink>
        <a:folHlink>
          <a:srgbClr val="3F6B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KAPSARC Presentation.potx" id="{3DE14C1F-8A97-4B68-947E-6E68C1E5136B}" vid="{7A039B91-CD8F-4E72-868E-4F633D1E0AB5}"/>
    </a:ext>
  </a:extLst>
</a:theme>
</file>

<file path=ppt/theme/theme4.xml><?xml version="1.0" encoding="utf-8"?>
<a:theme xmlns:a="http://schemas.openxmlformats.org/drawingml/2006/main" name="KAPRC_CF 16x9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DBDBDB"/>
      </a:lt2>
      <a:accent1>
        <a:srgbClr val="CAE4CB"/>
      </a:accent1>
      <a:accent2>
        <a:srgbClr val="8AC58F"/>
      </a:accent2>
      <a:accent3>
        <a:srgbClr val="5D9E54"/>
      </a:accent3>
      <a:accent4>
        <a:srgbClr val="3F6B39"/>
      </a:accent4>
      <a:accent5>
        <a:srgbClr val="FFD100"/>
      </a:accent5>
      <a:accent6>
        <a:srgbClr val="808080"/>
      </a:accent6>
      <a:hlink>
        <a:srgbClr val="5D9E54"/>
      </a:hlink>
      <a:folHlink>
        <a:srgbClr val="3F6B39"/>
      </a:folHlink>
    </a:clrScheme>
    <a:fontScheme name="Custom 27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DBDBDB"/>
        </a:lt2>
        <a:accent1>
          <a:srgbClr val="CAE4CB"/>
        </a:accent1>
        <a:accent2>
          <a:srgbClr val="8AC58F"/>
        </a:accent2>
        <a:accent3>
          <a:srgbClr val="5D9E54"/>
        </a:accent3>
        <a:accent4>
          <a:srgbClr val="3F6B39"/>
        </a:accent4>
        <a:accent5>
          <a:srgbClr val="FFD100"/>
        </a:accent5>
        <a:accent6>
          <a:srgbClr val="808080"/>
        </a:accent6>
        <a:hlink>
          <a:srgbClr val="5D9E54"/>
        </a:hlink>
        <a:folHlink>
          <a:srgbClr val="3F6B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KAPSARC Presentation.potx" id="{3DE14C1F-8A97-4B68-947E-6E68C1E5136B}" vid="{7A039B91-CD8F-4E72-868E-4F633D1E0AB5}"/>
    </a:ext>
  </a:extLst>
</a:theme>
</file>

<file path=ppt/theme/theme5.xml><?xml version="1.0" encoding="utf-8"?>
<a:theme xmlns:a="http://schemas.openxmlformats.org/drawingml/2006/main" name="2_KAPRC_CF 16x9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DBDBDB"/>
      </a:lt2>
      <a:accent1>
        <a:srgbClr val="CAE4CB"/>
      </a:accent1>
      <a:accent2>
        <a:srgbClr val="8AC58F"/>
      </a:accent2>
      <a:accent3>
        <a:srgbClr val="5D9E54"/>
      </a:accent3>
      <a:accent4>
        <a:srgbClr val="3F6B39"/>
      </a:accent4>
      <a:accent5>
        <a:srgbClr val="FFD100"/>
      </a:accent5>
      <a:accent6>
        <a:srgbClr val="808080"/>
      </a:accent6>
      <a:hlink>
        <a:srgbClr val="5D9E54"/>
      </a:hlink>
      <a:folHlink>
        <a:srgbClr val="3F6B39"/>
      </a:folHlink>
    </a:clrScheme>
    <a:fontScheme name="Custom 27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DBDBDB"/>
        </a:lt2>
        <a:accent1>
          <a:srgbClr val="CAE4CB"/>
        </a:accent1>
        <a:accent2>
          <a:srgbClr val="8AC58F"/>
        </a:accent2>
        <a:accent3>
          <a:srgbClr val="5D9E54"/>
        </a:accent3>
        <a:accent4>
          <a:srgbClr val="3F6B39"/>
        </a:accent4>
        <a:accent5>
          <a:srgbClr val="FFD100"/>
        </a:accent5>
        <a:accent6>
          <a:srgbClr val="808080"/>
        </a:accent6>
        <a:hlink>
          <a:srgbClr val="5D9E54"/>
        </a:hlink>
        <a:folHlink>
          <a:srgbClr val="3F6B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KAPSARC Presentation.potx" id="{3DE14C1F-8A97-4B68-947E-6E68C1E5136B}" vid="{7A039B91-CD8F-4E72-868E-4F633D1E0AB5}"/>
    </a:ext>
  </a:extLst>
</a:theme>
</file>

<file path=ppt/theme/theme6.xml><?xml version="1.0" encoding="utf-8"?>
<a:theme xmlns:a="http://schemas.openxmlformats.org/drawingml/2006/main" name="2_KPMG_Standard_4x3_0923_2015">
  <a:themeElements>
    <a:clrScheme name="Custom 3">
      <a:dk1>
        <a:srgbClr val="000000"/>
      </a:dk1>
      <a:lt1>
        <a:srgbClr val="FFFFFF"/>
      </a:lt1>
      <a:dk2>
        <a:srgbClr val="00338D"/>
      </a:dk2>
      <a:lt2>
        <a:srgbClr val="0091DA"/>
      </a:lt2>
      <a:accent1>
        <a:srgbClr val="005EB8"/>
      </a:accent1>
      <a:accent2>
        <a:srgbClr val="0091DA"/>
      </a:accent2>
      <a:accent3>
        <a:srgbClr val="483698"/>
      </a:accent3>
      <a:accent4>
        <a:srgbClr val="470A68"/>
      </a:accent4>
      <a:accent5>
        <a:srgbClr val="6D2077"/>
      </a:accent5>
      <a:accent6>
        <a:srgbClr val="00A3A1"/>
      </a:accent6>
      <a:hlink>
        <a:srgbClr val="C6007E"/>
      </a:hlink>
      <a:folHlink>
        <a:srgbClr val="BC204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Univers for KPMG"/>
        <a:font script="Hebr" typeface="Univers for KPMG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Univers for KPMG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600" dirty="0" smtClean="0">
            <a:solidFill>
              <a:srgbClr val="003087"/>
            </a:solidFill>
            <a:latin typeface="Univers for KPMG"/>
            <a:cs typeface="Univers for KPMG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KPMG Report Standard Template.potx" id="{5E67CB3A-314B-4B72-970F-DCD15CEC7CF9}" vid="{AB8D2AB0-D185-4DD5-8E25-A0B3F8280F33}"/>
    </a:ext>
  </a:extLst>
</a:theme>
</file>

<file path=ppt/theme/theme7.xml><?xml version="1.0" encoding="utf-8"?>
<a:theme xmlns:a="http://schemas.openxmlformats.org/drawingml/2006/main" name="3_KAPRC_CF 16x9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DBDBDB"/>
      </a:lt2>
      <a:accent1>
        <a:srgbClr val="CAE4CB"/>
      </a:accent1>
      <a:accent2>
        <a:srgbClr val="8AC58F"/>
      </a:accent2>
      <a:accent3>
        <a:srgbClr val="5D9E54"/>
      </a:accent3>
      <a:accent4>
        <a:srgbClr val="3F6B39"/>
      </a:accent4>
      <a:accent5>
        <a:srgbClr val="FFD100"/>
      </a:accent5>
      <a:accent6>
        <a:srgbClr val="808080"/>
      </a:accent6>
      <a:hlink>
        <a:srgbClr val="5D9E54"/>
      </a:hlink>
      <a:folHlink>
        <a:srgbClr val="3F6B39"/>
      </a:folHlink>
    </a:clrScheme>
    <a:fontScheme name="Custom 27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DBDBDB"/>
        </a:lt2>
        <a:accent1>
          <a:srgbClr val="CAE4CB"/>
        </a:accent1>
        <a:accent2>
          <a:srgbClr val="8AC58F"/>
        </a:accent2>
        <a:accent3>
          <a:srgbClr val="5D9E54"/>
        </a:accent3>
        <a:accent4>
          <a:srgbClr val="3F6B39"/>
        </a:accent4>
        <a:accent5>
          <a:srgbClr val="FFD100"/>
        </a:accent5>
        <a:accent6>
          <a:srgbClr val="808080"/>
        </a:accent6>
        <a:hlink>
          <a:srgbClr val="5D9E54"/>
        </a:hlink>
        <a:folHlink>
          <a:srgbClr val="3F6B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KAPSARC Presentation.potx" id="{3DE14C1F-8A97-4B68-947E-6E68C1E5136B}" vid="{7A039B91-CD8F-4E72-868E-4F633D1E0AB5}"/>
    </a:ext>
  </a:extLst>
</a:theme>
</file>

<file path=ppt/theme/theme8.xml><?xml version="1.0" encoding="utf-8"?>
<a:theme xmlns:a="http://schemas.openxmlformats.org/drawingml/2006/main" name="4_KAPRC_CF 16x9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DBDBDB"/>
      </a:lt2>
      <a:accent1>
        <a:srgbClr val="CAE4CB"/>
      </a:accent1>
      <a:accent2>
        <a:srgbClr val="8AC58F"/>
      </a:accent2>
      <a:accent3>
        <a:srgbClr val="5D9E54"/>
      </a:accent3>
      <a:accent4>
        <a:srgbClr val="3F6B39"/>
      </a:accent4>
      <a:accent5>
        <a:srgbClr val="FFD100"/>
      </a:accent5>
      <a:accent6>
        <a:srgbClr val="808080"/>
      </a:accent6>
      <a:hlink>
        <a:srgbClr val="5D9E54"/>
      </a:hlink>
      <a:folHlink>
        <a:srgbClr val="3F6B39"/>
      </a:folHlink>
    </a:clrScheme>
    <a:fontScheme name="Custom 27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DBDBDB"/>
        </a:lt2>
        <a:accent1>
          <a:srgbClr val="CAE4CB"/>
        </a:accent1>
        <a:accent2>
          <a:srgbClr val="8AC58F"/>
        </a:accent2>
        <a:accent3>
          <a:srgbClr val="5D9E54"/>
        </a:accent3>
        <a:accent4>
          <a:srgbClr val="3F6B39"/>
        </a:accent4>
        <a:accent5>
          <a:srgbClr val="FFD100"/>
        </a:accent5>
        <a:accent6>
          <a:srgbClr val="808080"/>
        </a:accent6>
        <a:hlink>
          <a:srgbClr val="5D9E54"/>
        </a:hlink>
        <a:folHlink>
          <a:srgbClr val="3F6B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KAPSARC Presentation.potx" id="{3DE14C1F-8A97-4B68-947E-6E68C1E5136B}" vid="{7A039B91-CD8F-4E72-868E-4F633D1E0AB5}"/>
    </a:ext>
  </a:extLst>
</a:theme>
</file>

<file path=ppt/theme/theme9.xml><?xml version="1.0" encoding="utf-8"?>
<a:theme xmlns:a="http://schemas.openxmlformats.org/drawingml/2006/main" name="1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3F6B39"/>
      </a:accent1>
      <a:accent2>
        <a:srgbClr val="5D9E54"/>
      </a:accent2>
      <a:accent3>
        <a:srgbClr val="8AC58F"/>
      </a:accent3>
      <a:accent4>
        <a:srgbClr val="CAE4CB"/>
      </a:accent4>
      <a:accent5>
        <a:srgbClr val="C6BC49"/>
      </a:accent5>
      <a:accent6>
        <a:srgbClr val="969696"/>
      </a:accent6>
      <a:hlink>
        <a:srgbClr val="0000FF"/>
      </a:hlink>
      <a:folHlink>
        <a:srgbClr val="800080"/>
      </a:folHlink>
    </a:clrScheme>
    <a:fontScheme name="Custom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3F6B39"/>
        </a:accent1>
        <a:accent2>
          <a:srgbClr val="5D9E54"/>
        </a:accent2>
        <a:accent3>
          <a:srgbClr val="8AC58F"/>
        </a:accent3>
        <a:accent4>
          <a:srgbClr val="CAE4CB"/>
        </a:accent4>
        <a:accent5>
          <a:srgbClr val="C6BC49"/>
        </a:accent5>
        <a:accent6>
          <a:srgbClr val="969696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RY1628_OFF_v1.potx" id="{72187260-95FD-4CE8-B8EE-C4743EBB8797}" vid="{ECA36BBF-46F1-437D-BC7D-FF27FBA65BB5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a24b247d-3a02-438d-9e4e-ead77eefad96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FF9FB07C5019B419FBFB43CC3A82D21" ma:contentTypeVersion="10" ma:contentTypeDescription="Create a new document." ma:contentTypeScope="" ma:versionID="65ebee76efdcc75e32e7cebd596a5c38">
  <xsd:schema xmlns:xsd="http://www.w3.org/2001/XMLSchema" xmlns:xs="http://www.w3.org/2001/XMLSchema" xmlns:p="http://schemas.microsoft.com/office/2006/metadata/properties" xmlns:ns3="a24b247d-3a02-438d-9e4e-ead77eefad96" xmlns:ns4="20d4d64b-1bfb-4054-84b6-83f5c9f597d8" targetNamespace="http://schemas.microsoft.com/office/2006/metadata/properties" ma:root="true" ma:fieldsID="34e7efb9ee4674ad42b79c81ed428266" ns3:_="" ns4:_="">
    <xsd:import namespace="a24b247d-3a02-438d-9e4e-ead77eefad96"/>
    <xsd:import namespace="20d4d64b-1bfb-4054-84b6-83f5c9f597d8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24b247d-3a02-438d-9e4e-ead77eefad9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_activity" ma:index="14" nillable="true" ma:displayName="_activity" ma:hidden="true" ma:internalName="_activity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0d4d64b-1bfb-4054-84b6-83f5c9f597d8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2A91B87-D727-41E1-9D49-CF59C84310A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CD1815A-44A5-4F6B-B62D-426CE46FE1E1}">
  <ds:schemaRefs>
    <ds:schemaRef ds:uri="http://purl.org/dc/dcmitype/"/>
    <ds:schemaRef ds:uri="http://schemas.microsoft.com/office/infopath/2007/PartnerControls"/>
    <ds:schemaRef ds:uri="http://schemas.microsoft.com/office/2006/metadata/properties"/>
    <ds:schemaRef ds:uri="20d4d64b-1bfb-4054-84b6-83f5c9f597d8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a24b247d-3a02-438d-9e4e-ead77eefad96"/>
    <ds:schemaRef ds:uri="http://purl.org/dc/terms/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503D8353-E7D7-4B5C-838B-D2A84018EFE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24b247d-3a02-438d-9e4e-ead77eefad96"/>
    <ds:schemaRef ds:uri="20d4d64b-1bfb-4054-84b6-83f5c9f597d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raduate Development Program - Nouf (1)</Template>
  <TotalTime>12879</TotalTime>
  <Words>1373</Words>
  <Application>Microsoft Office PowerPoint</Application>
  <PresentationFormat>Widescreen</PresentationFormat>
  <Paragraphs>448</Paragraphs>
  <Slides>14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38" baseType="lpstr">
      <vt:lpstr>Arial</vt:lpstr>
      <vt:lpstr>Arial Nova Light</vt:lpstr>
      <vt:lpstr>Calibri</vt:lpstr>
      <vt:lpstr>Calibri (body)</vt:lpstr>
      <vt:lpstr>Cambria</vt:lpstr>
      <vt:lpstr>Cambria Math</vt:lpstr>
      <vt:lpstr>Georgia</vt:lpstr>
      <vt:lpstr>HelveticaNeueLT Arabic 55 Roman</vt:lpstr>
      <vt:lpstr>KPMG Extralight</vt:lpstr>
      <vt:lpstr>Segoe UI</vt:lpstr>
      <vt:lpstr>Teshrin AR+LT Bold</vt:lpstr>
      <vt:lpstr>Univers for KPMG</vt:lpstr>
      <vt:lpstr>Univers for KPMG Light</vt:lpstr>
      <vt:lpstr>Wingdings</vt:lpstr>
      <vt:lpstr>White</vt:lpstr>
      <vt:lpstr>Contrast</vt:lpstr>
      <vt:lpstr>1_KAPRC_CF 16x9</vt:lpstr>
      <vt:lpstr>KAPRC_CF 16x9</vt:lpstr>
      <vt:lpstr>2_KAPRC_CF 16x9</vt:lpstr>
      <vt:lpstr>2_KPMG_Standard_4x3_0923_2015</vt:lpstr>
      <vt:lpstr>3_KAPRC_CF 16x9</vt:lpstr>
      <vt:lpstr>4_KAPRC_CF 16x9</vt:lpstr>
      <vt:lpstr>1_White</vt:lpstr>
      <vt:lpstr>think-cell Slide</vt:lpstr>
      <vt:lpstr>Fiscal Policy in Oil and Gas-Exporting Economies: Good Times, Bad Times and Ugly Times   Olivier Durand-Lasserve and Fatih Karanfil</vt:lpstr>
      <vt:lpstr>Cyclical fiscal policies transmit oil price volatility to the economy </vt:lpstr>
      <vt:lpstr>Baseline model: panel data with interaction terms</vt:lpstr>
      <vt:lpstr>Insights from the model without asymmetries</vt:lpstr>
      <vt:lpstr>We consider four configurations of oil and gas revenue shocks</vt:lpstr>
      <vt:lpstr>Asymmetries of variation and position: illustration with Saudi Arabia</vt:lpstr>
      <vt:lpstr>Results with asymmetry</vt:lpstr>
      <vt:lpstr>Insights from the model asymmetries</vt:lpstr>
      <vt:lpstr>Takeaways from interacting asymmetries and explanatory variables</vt:lpstr>
      <vt:lpstr>Policy implications </vt:lpstr>
      <vt:lpstr>Thank you</vt:lpstr>
      <vt:lpstr>Covariates</vt:lpstr>
      <vt:lpstr>Procyclicality of expenditure to oil revenue: preliminary findings</vt:lpstr>
      <vt:lpstr>Models with asymmetri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lideFactory</dc:creator>
  <cp:lastModifiedBy>Karanfil, Fatih</cp:lastModifiedBy>
  <cp:revision>65</cp:revision>
  <dcterms:created xsi:type="dcterms:W3CDTF">2023-01-25T18:15:16Z</dcterms:created>
  <dcterms:modified xsi:type="dcterms:W3CDTF">2023-11-06T03:43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3-01-23T00:00:00Z</vt:filetime>
  </property>
  <property fmtid="{D5CDD505-2E9C-101B-9397-08002B2CF9AE}" pid="3" name="Creator">
    <vt:lpwstr>Microsoft® PowerPoint® 2019</vt:lpwstr>
  </property>
  <property fmtid="{D5CDD505-2E9C-101B-9397-08002B2CF9AE}" pid="4" name="LastSaved">
    <vt:filetime>2023-01-25T00:00:00Z</vt:filetime>
  </property>
  <property fmtid="{D5CDD505-2E9C-101B-9397-08002B2CF9AE}" pid="5" name="ContentTypeId">
    <vt:lpwstr>0x0101009FF9FB07C5019B419FBFB43CC3A82D21</vt:lpwstr>
  </property>
  <property fmtid="{D5CDD505-2E9C-101B-9397-08002B2CF9AE}" pid="6" name="MSIP_Label_3e8d34d1-3830-4ae1-841c-ed04f7a732ea_Enabled">
    <vt:lpwstr>true</vt:lpwstr>
  </property>
  <property fmtid="{D5CDD505-2E9C-101B-9397-08002B2CF9AE}" pid="7" name="MSIP_Label_3e8d34d1-3830-4ae1-841c-ed04f7a732ea_SetDate">
    <vt:lpwstr>2023-09-16T13:43:10Z</vt:lpwstr>
  </property>
  <property fmtid="{D5CDD505-2E9C-101B-9397-08002B2CF9AE}" pid="8" name="MSIP_Label_3e8d34d1-3830-4ae1-841c-ed04f7a732ea_Method">
    <vt:lpwstr>Privileged</vt:lpwstr>
  </property>
  <property fmtid="{D5CDD505-2E9C-101B-9397-08002B2CF9AE}" pid="9" name="MSIP_Label_3e8d34d1-3830-4ae1-841c-ed04f7a732ea_Name">
    <vt:lpwstr>Public</vt:lpwstr>
  </property>
  <property fmtid="{D5CDD505-2E9C-101B-9397-08002B2CF9AE}" pid="10" name="MSIP_Label_3e8d34d1-3830-4ae1-841c-ed04f7a732ea_SiteId">
    <vt:lpwstr>9d1eab37-c590-430b-ba29-48eeaea0eee2</vt:lpwstr>
  </property>
  <property fmtid="{D5CDD505-2E9C-101B-9397-08002B2CF9AE}" pid="11" name="MSIP_Label_3e8d34d1-3830-4ae1-841c-ed04f7a732ea_ActionId">
    <vt:lpwstr>4ae89284-5c54-4586-a522-1b4cec07f550</vt:lpwstr>
  </property>
  <property fmtid="{D5CDD505-2E9C-101B-9397-08002B2CF9AE}" pid="12" name="MSIP_Label_3e8d34d1-3830-4ae1-841c-ed04f7a732ea_ContentBits">
    <vt:lpwstr>2</vt:lpwstr>
  </property>
  <property fmtid="{D5CDD505-2E9C-101B-9397-08002B2CF9AE}" pid="13" name="ClassificationContentMarkingFooterLocations">
    <vt:lpwstr>White:7\Contrast:6\1_KAPRC_CF 16x9:5\KAPRC_CF 16x9:5\2_KAPRC_CF 16x9:5\2_KPMG_Standard_4x3_0923_2015:4\3_KAPRC_CF 16x9:4\4_KAPRC_CF 16x9:4\1_White:7</vt:lpwstr>
  </property>
  <property fmtid="{D5CDD505-2E9C-101B-9397-08002B2CF9AE}" pid="14" name="ClassificationContentMarkingFooterText">
    <vt:lpwstr>Classified as Public and Information can be shared with anyone needful of the Information.</vt:lpwstr>
  </property>
</Properties>
</file>